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73" r:id="rId1"/>
    <p:sldMasterId id="2147483721" r:id="rId2"/>
    <p:sldMasterId id="2147483711" r:id="rId3"/>
    <p:sldMasterId id="2147483731" r:id="rId4"/>
    <p:sldMasterId id="2147483735" r:id="rId5"/>
    <p:sldMasterId id="2147483739" r:id="rId6"/>
  </p:sldMasterIdLst>
  <p:notesMasterIdLst>
    <p:notesMasterId r:id="rId45"/>
  </p:notesMasterIdLst>
  <p:handoutMasterIdLst>
    <p:handoutMasterId r:id="rId46"/>
  </p:handoutMasterIdLst>
  <p:sldIdLst>
    <p:sldId id="834" r:id="rId7"/>
    <p:sldId id="378" r:id="rId8"/>
    <p:sldId id="833" r:id="rId9"/>
    <p:sldId id="831" r:id="rId10"/>
    <p:sldId id="835" r:id="rId11"/>
    <p:sldId id="836" r:id="rId12"/>
    <p:sldId id="837" r:id="rId13"/>
    <p:sldId id="838" r:id="rId14"/>
    <p:sldId id="839" r:id="rId15"/>
    <p:sldId id="841" r:id="rId16"/>
    <p:sldId id="843" r:id="rId17"/>
    <p:sldId id="844" r:id="rId18"/>
    <p:sldId id="845" r:id="rId19"/>
    <p:sldId id="846" r:id="rId20"/>
    <p:sldId id="847" r:id="rId21"/>
    <p:sldId id="848" r:id="rId22"/>
    <p:sldId id="849" r:id="rId23"/>
    <p:sldId id="850" r:id="rId24"/>
    <p:sldId id="851" r:id="rId25"/>
    <p:sldId id="852" r:id="rId26"/>
    <p:sldId id="854" r:id="rId27"/>
    <p:sldId id="855" r:id="rId28"/>
    <p:sldId id="857" r:id="rId29"/>
    <p:sldId id="856" r:id="rId30"/>
    <p:sldId id="858" r:id="rId31"/>
    <p:sldId id="859" r:id="rId32"/>
    <p:sldId id="860" r:id="rId33"/>
    <p:sldId id="861" r:id="rId34"/>
    <p:sldId id="862" r:id="rId35"/>
    <p:sldId id="863" r:id="rId36"/>
    <p:sldId id="864" r:id="rId37"/>
    <p:sldId id="865" r:id="rId38"/>
    <p:sldId id="866" r:id="rId39"/>
    <p:sldId id="867" r:id="rId40"/>
    <p:sldId id="830" r:id="rId41"/>
    <p:sldId id="869" r:id="rId42"/>
    <p:sldId id="868" r:id="rId43"/>
    <p:sldId id="842" r:id="rId44"/>
  </p:sldIdLst>
  <p:sldSz cx="12190413" cy="6858000"/>
  <p:notesSz cx="6669088" cy="9926638"/>
  <p:embeddedFontLst>
    <p:embeddedFont>
      <p:font typeface="Bebas Neue" panose="020B0506020202020201" charset="0"/>
      <p:regular r:id="rId47"/>
    </p:embeddedFon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  <p:embeddedFont>
      <p:font typeface="Microsoft YaHei" panose="020B0503020204020204" pitchFamily="34" charset="-122"/>
      <p:regular r:id="rId54"/>
      <p:bold r:id="rId55"/>
    </p:embeddedFont>
    <p:embeddedFont>
      <p:font typeface="Segoe UI" panose="020B0502040204020203" pitchFamily="34" charset="0"/>
      <p:regular r:id="rId56"/>
      <p:bold r:id="rId57"/>
      <p:italic r:id="rId58"/>
      <p:boldItalic r:id="rId59"/>
    </p:embeddedFont>
  </p:embeddedFontLst>
  <p:custDataLst>
    <p:tags r:id="rId60"/>
  </p:custDataLst>
  <p:defaultTextStyle>
    <a:defPPr>
      <a:defRPr lang="de-DE"/>
    </a:defPPr>
    <a:lvl1pPr marL="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01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035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05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069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086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B77E98E4-12B4-48D4-92E5-9443B9DC8E55}">
          <p14:sldIdLst>
            <p14:sldId id="834"/>
            <p14:sldId id="378"/>
            <p14:sldId id="833"/>
          </p14:sldIdLst>
        </p14:section>
        <p14:section name="SECTION 1" id="{7911D283-A686-4769-9901-E0F1E794CE5A}">
          <p14:sldIdLst>
            <p14:sldId id="831"/>
            <p14:sldId id="835"/>
            <p14:sldId id="836"/>
            <p14:sldId id="837"/>
            <p14:sldId id="838"/>
            <p14:sldId id="839"/>
            <p14:sldId id="841"/>
            <p14:sldId id="843"/>
            <p14:sldId id="844"/>
            <p14:sldId id="845"/>
            <p14:sldId id="846"/>
            <p14:sldId id="847"/>
            <p14:sldId id="848"/>
            <p14:sldId id="849"/>
          </p14:sldIdLst>
        </p14:section>
        <p14:section name="DEEP DIVE" id="{0F789147-D870-4A20-B3A6-1895BBAE43D0}">
          <p14:sldIdLst>
            <p14:sldId id="850"/>
            <p14:sldId id="851"/>
            <p14:sldId id="852"/>
            <p14:sldId id="854"/>
            <p14:sldId id="855"/>
            <p14:sldId id="857"/>
            <p14:sldId id="856"/>
            <p14:sldId id="858"/>
            <p14:sldId id="859"/>
            <p14:sldId id="860"/>
            <p14:sldId id="861"/>
            <p14:sldId id="862"/>
            <p14:sldId id="863"/>
            <p14:sldId id="864"/>
            <p14:sldId id="865"/>
          </p14:sldIdLst>
        </p14:section>
        <p14:section name="TEAMS CLIENT" id="{C959C199-796A-475A-81A1-C29218F329E7}">
          <p14:sldIdLst>
            <p14:sldId id="866"/>
            <p14:sldId id="867"/>
          </p14:sldIdLst>
        </p14:section>
        <p14:section name="FINAL" id="{2475EA1E-BCBB-44E6-B271-402CD384091F}">
          <p14:sldIdLst>
            <p14:sldId id="830"/>
            <p14:sldId id="869"/>
            <p14:sldId id="868"/>
          </p14:sldIdLst>
        </p14:section>
        <p14:section name="RESSOURCES" id="{AF0B8AE0-D24D-46CE-B941-89AC0AAB1C95}">
          <p14:sldIdLst>
            <p14:sldId id="8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3" orient="horz" pos="3657" userDrawn="1">
          <p15:clr>
            <a:srgbClr val="A4A3A4"/>
          </p15:clr>
        </p15:guide>
        <p15:guide id="4" pos="735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984">
          <p15:clr>
            <a:srgbClr val="A4A3A4"/>
          </p15:clr>
        </p15:guide>
        <p15:guide id="8" pos="349">
          <p15:clr>
            <a:srgbClr val="A4A3A4"/>
          </p15:clr>
        </p15:guide>
        <p15:guide id="9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F8F8F8"/>
    <a:srgbClr val="DEDEDE"/>
    <a:srgbClr val="CFCFCF"/>
    <a:srgbClr val="F2F2F2"/>
    <a:srgbClr val="EAEAEA"/>
    <a:srgbClr val="000000"/>
    <a:srgbClr val="404040"/>
    <a:srgbClr val="D9D9D9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C88A69-F5B9-4FD7-A4CC-C0C69A3C6A8A}" v="281" dt="2021-08-21T13:42:03.4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515" autoAdjust="0"/>
  </p:normalViewPr>
  <p:slideViewPr>
    <p:cSldViewPr snapToGrid="0" snapToObjects="1" showGuides="1">
      <p:cViewPr varScale="1">
        <p:scale>
          <a:sx n="144" d="100"/>
          <a:sy n="144" d="100"/>
        </p:scale>
        <p:origin x="440" y="88"/>
      </p:cViewPr>
      <p:guideLst>
        <p:guide orient="horz" pos="981"/>
        <p:guide pos="347"/>
        <p:guide orient="horz" pos="3657"/>
        <p:guide pos="7355"/>
        <p:guide orient="horz"/>
        <p:guide/>
        <p:guide orient="horz" pos="984"/>
        <p:guide pos="349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3594" y="6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font" Target="fonts/font1.fntdata"/><Relationship Id="rId50" Type="http://schemas.openxmlformats.org/officeDocument/2006/relationships/font" Target="fonts/font4.fntdata"/><Relationship Id="rId55" Type="http://schemas.openxmlformats.org/officeDocument/2006/relationships/font" Target="fonts/font9.fntdata"/><Relationship Id="rId63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7.fntdata"/><Relationship Id="rId58" Type="http://schemas.openxmlformats.org/officeDocument/2006/relationships/font" Target="fonts/font12.fntdata"/><Relationship Id="rId66" Type="http://schemas.microsoft.com/office/2015/10/relationships/revisionInfo" Target="revisionInfo.xml"/><Relationship Id="rId5" Type="http://schemas.openxmlformats.org/officeDocument/2006/relationships/slideMaster" Target="slideMasters/slideMaster5.xml"/><Relationship Id="rId61" Type="http://schemas.openxmlformats.org/officeDocument/2006/relationships/presProps" Target="presProp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font" Target="fonts/font2.fntdata"/><Relationship Id="rId56" Type="http://schemas.openxmlformats.org/officeDocument/2006/relationships/font" Target="fonts/font10.fntdata"/><Relationship Id="rId64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handoutMaster" Target="handoutMasters/handoutMaster1.xml"/><Relationship Id="rId59" Type="http://schemas.openxmlformats.org/officeDocument/2006/relationships/font" Target="fonts/font13.fntdata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font" Target="fonts/font8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font" Target="fonts/font3.fntdata"/><Relationship Id="rId57" Type="http://schemas.openxmlformats.org/officeDocument/2006/relationships/font" Target="fonts/font11.fntdata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font" Target="fonts/font6.fntdata"/><Relationship Id="rId60" Type="http://schemas.openxmlformats.org/officeDocument/2006/relationships/tags" Target="tags/tag1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BCC88A69-F5B9-4FD7-A4CC-C0C69A3C6A8A}"/>
    <pc:docChg chg="undo custSel addSld delSld modSld sldOrd modMainMaster addSection delSection modSection">
      <pc:chgData name="Thomas Stensitzki" userId="75cafe6b-2f2a-469b-85c4-eec3b9c972ba" providerId="ADAL" clId="{BCC88A69-F5B9-4FD7-A4CC-C0C69A3C6A8A}" dt="2021-08-21T13:42:03.409" v="7706"/>
      <pc:docMkLst>
        <pc:docMk/>
      </pc:docMkLst>
      <pc:sldChg chg="modSp mod modClrScheme modShow chgLayout modNotes">
        <pc:chgData name="Thomas Stensitzki" userId="75cafe6b-2f2a-469b-85c4-eec3b9c972ba" providerId="ADAL" clId="{BCC88A69-F5B9-4FD7-A4CC-C0C69A3C6A8A}" dt="2021-08-21T09:38:45.587" v="7681" actId="729"/>
        <pc:sldMkLst>
          <pc:docMk/>
          <pc:sldMk cId="2840609382" sldId="378"/>
        </pc:sldMkLst>
        <pc:spChg chg="mod ord">
          <ac:chgData name="Thomas Stensitzki" userId="75cafe6b-2f2a-469b-85c4-eec3b9c972ba" providerId="ADAL" clId="{BCC88A69-F5B9-4FD7-A4CC-C0C69A3C6A8A}" dt="2021-08-15T10:18:47.858" v="562" actId="790"/>
          <ac:spMkLst>
            <pc:docMk/>
            <pc:sldMk cId="2840609382" sldId="378"/>
            <ac:spMk id="2" creationId="{00000000-0000-0000-0000-000000000000}"/>
          </ac:spMkLst>
        </pc:spChg>
        <pc:spChg chg="mod ord">
          <ac:chgData name="Thomas Stensitzki" userId="75cafe6b-2f2a-469b-85c4-eec3b9c972ba" providerId="ADAL" clId="{BCC88A69-F5B9-4FD7-A4CC-C0C69A3C6A8A}" dt="2021-08-15T10:18:47.859" v="563" actId="790"/>
          <ac:spMkLst>
            <pc:docMk/>
            <pc:sldMk cId="2840609382" sldId="378"/>
            <ac:spMk id="4" creationId="{00000000-0000-0000-0000-000000000000}"/>
          </ac:spMkLst>
        </pc:spChg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2604925702" sldId="671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251048586" sldId="811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018093643" sldId="813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007419678" sldId="814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1595304060" sldId="815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1869646049" sldId="816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264467736" sldId="817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007419678" sldId="818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1595304060" sldId="819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1869646049" sldId="820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3264467736" sldId="821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2154960334" sldId="827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441744978" sldId="828"/>
        </pc:sldMkLst>
      </pc:sldChg>
      <pc:sldChg chg="del">
        <pc:chgData name="Thomas Stensitzki" userId="75cafe6b-2f2a-469b-85c4-eec3b9c972ba" providerId="ADAL" clId="{BCC88A69-F5B9-4FD7-A4CC-C0C69A3C6A8A}" dt="2021-08-15T10:16:52.543" v="448" actId="47"/>
        <pc:sldMkLst>
          <pc:docMk/>
          <pc:sldMk cId="409449452" sldId="829"/>
        </pc:sldMkLst>
      </pc:sldChg>
      <pc:sldChg chg="modSp mod modNotes">
        <pc:chgData name="Thomas Stensitzki" userId="75cafe6b-2f2a-469b-85c4-eec3b9c972ba" providerId="ADAL" clId="{BCC88A69-F5B9-4FD7-A4CC-C0C69A3C6A8A}" dt="2021-08-15T10:18:47.957" v="685" actId="790"/>
        <pc:sldMkLst>
          <pc:docMk/>
          <pc:sldMk cId="2734184211" sldId="830"/>
        </pc:sldMkLst>
        <pc:spChg chg="mod">
          <ac:chgData name="Thomas Stensitzki" userId="75cafe6b-2f2a-469b-85c4-eec3b9c972ba" providerId="ADAL" clId="{BCC88A69-F5B9-4FD7-A4CC-C0C69A3C6A8A}" dt="2021-08-15T10:18:47.954" v="680" actId="790"/>
          <ac:spMkLst>
            <pc:docMk/>
            <pc:sldMk cId="2734184211" sldId="830"/>
            <ac:spMk id="2" creationId="{00000000-0000-0000-0000-000000000000}"/>
          </ac:spMkLst>
        </pc:spChg>
        <pc:spChg chg="mod">
          <ac:chgData name="Thomas Stensitzki" userId="75cafe6b-2f2a-469b-85c4-eec3b9c972ba" providerId="ADAL" clId="{BCC88A69-F5B9-4FD7-A4CC-C0C69A3C6A8A}" dt="2021-08-15T10:18:47.955" v="682" actId="790"/>
          <ac:spMkLst>
            <pc:docMk/>
            <pc:sldMk cId="2734184211" sldId="830"/>
            <ac:spMk id="3" creationId="{C2E527F1-2D2B-4E9B-80CF-A57851DB1DDA}"/>
          </ac:spMkLst>
        </pc:spChg>
        <pc:spChg chg="mod">
          <ac:chgData name="Thomas Stensitzki" userId="75cafe6b-2f2a-469b-85c4-eec3b9c972ba" providerId="ADAL" clId="{BCC88A69-F5B9-4FD7-A4CC-C0C69A3C6A8A}" dt="2021-08-15T10:18:47.954" v="681" actId="790"/>
          <ac:spMkLst>
            <pc:docMk/>
            <pc:sldMk cId="2734184211" sldId="830"/>
            <ac:spMk id="6" creationId="{BADB25ED-3906-4D9E-8557-A35C93D0007F}"/>
          </ac:spMkLst>
        </pc:spChg>
      </pc:sldChg>
      <pc:sldChg chg="modSp mod modNotes">
        <pc:chgData name="Thomas Stensitzki" userId="75cafe6b-2f2a-469b-85c4-eec3b9c972ba" providerId="ADAL" clId="{BCC88A69-F5B9-4FD7-A4CC-C0C69A3C6A8A}" dt="2021-08-15T10:18:47.880" v="575" actId="790"/>
        <pc:sldMkLst>
          <pc:docMk/>
          <pc:sldMk cId="826133795" sldId="831"/>
        </pc:sldMkLst>
        <pc:spChg chg="mod">
          <ac:chgData name="Thomas Stensitzki" userId="75cafe6b-2f2a-469b-85c4-eec3b9c972ba" providerId="ADAL" clId="{BCC88A69-F5B9-4FD7-A4CC-C0C69A3C6A8A}" dt="2021-08-15T10:18:47.874" v="572" actId="790"/>
          <ac:spMkLst>
            <pc:docMk/>
            <pc:sldMk cId="826133795" sldId="831"/>
            <ac:spMk id="4" creationId="{A0C623BE-F2A4-4533-A1A9-91CF237E6EB3}"/>
          </ac:spMkLst>
        </pc:spChg>
        <pc:spChg chg="mod">
          <ac:chgData name="Thomas Stensitzki" userId="75cafe6b-2f2a-469b-85c4-eec3b9c972ba" providerId="ADAL" clId="{BCC88A69-F5B9-4FD7-A4CC-C0C69A3C6A8A}" dt="2021-08-15T10:18:47.876" v="573" actId="790"/>
          <ac:spMkLst>
            <pc:docMk/>
            <pc:sldMk cId="826133795" sldId="831"/>
            <ac:spMk id="5" creationId="{A98BD0FF-23BA-4749-AAD8-3970D867F26C}"/>
          </ac:spMkLst>
        </pc:spChg>
      </pc:sldChg>
      <pc:sldChg chg="addSp modSp mod modNotes">
        <pc:chgData name="Thomas Stensitzki" userId="75cafe6b-2f2a-469b-85c4-eec3b9c972ba" providerId="ADAL" clId="{BCC88A69-F5B9-4FD7-A4CC-C0C69A3C6A8A}" dt="2021-08-21T09:40:20.621" v="7685" actId="20577"/>
        <pc:sldMkLst>
          <pc:docMk/>
          <pc:sldMk cId="838883149" sldId="833"/>
        </pc:sldMkLst>
        <pc:spChg chg="mod">
          <ac:chgData name="Thomas Stensitzki" userId="75cafe6b-2f2a-469b-85c4-eec3b9c972ba" providerId="ADAL" clId="{BCC88A69-F5B9-4FD7-A4CC-C0C69A3C6A8A}" dt="2021-08-15T10:18:47.863" v="567" actId="790"/>
          <ac:spMkLst>
            <pc:docMk/>
            <pc:sldMk cId="838883149" sldId="833"/>
            <ac:spMk id="2" creationId="{8F5F6780-642A-42ED-AB56-D47FDB5B2199}"/>
          </ac:spMkLst>
        </pc:spChg>
        <pc:spChg chg="mod">
          <ac:chgData name="Thomas Stensitzki" userId="75cafe6b-2f2a-469b-85c4-eec3b9c972ba" providerId="ADAL" clId="{BCC88A69-F5B9-4FD7-A4CC-C0C69A3C6A8A}" dt="2021-08-15T10:18:47.864" v="568" actId="790"/>
          <ac:spMkLst>
            <pc:docMk/>
            <pc:sldMk cId="838883149" sldId="833"/>
            <ac:spMk id="4" creationId="{7B3574BB-9A1A-45C2-8B6D-609C2D276C1A}"/>
          </ac:spMkLst>
        </pc:spChg>
        <pc:spChg chg="mod">
          <ac:chgData name="Thomas Stensitzki" userId="75cafe6b-2f2a-469b-85c4-eec3b9c972ba" providerId="ADAL" clId="{BCC88A69-F5B9-4FD7-A4CC-C0C69A3C6A8A}" dt="2021-08-21T09:40:20.621" v="7685" actId="20577"/>
          <ac:spMkLst>
            <pc:docMk/>
            <pc:sldMk cId="838883149" sldId="833"/>
            <ac:spMk id="10" creationId="{415734D9-F780-4CC2-9DF6-005293538FEE}"/>
          </ac:spMkLst>
        </pc:spChg>
        <pc:picChg chg="add mod">
          <ac:chgData name="Thomas Stensitzki" userId="75cafe6b-2f2a-469b-85c4-eec3b9c972ba" providerId="ADAL" clId="{BCC88A69-F5B9-4FD7-A4CC-C0C69A3C6A8A}" dt="2021-08-15T10:03:24.406" v="87" actId="1076"/>
          <ac:picMkLst>
            <pc:docMk/>
            <pc:sldMk cId="838883149" sldId="833"/>
            <ac:picMk id="6" creationId="{714C9855-9503-4D66-9187-CC10173428E1}"/>
          </ac:picMkLst>
        </pc:picChg>
        <pc:picChg chg="add mod">
          <ac:chgData name="Thomas Stensitzki" userId="75cafe6b-2f2a-469b-85c4-eec3b9c972ba" providerId="ADAL" clId="{BCC88A69-F5B9-4FD7-A4CC-C0C69A3C6A8A}" dt="2021-08-21T09:39:41.409" v="7682" actId="14826"/>
          <ac:picMkLst>
            <pc:docMk/>
            <pc:sldMk cId="838883149" sldId="833"/>
            <ac:picMk id="7" creationId="{820E83E9-AF6B-411E-8360-CA8BA5CA0494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BCC88A69-F5B9-4FD7-A4CC-C0C69A3C6A8A}" dt="2021-08-17T13:51:15.554" v="7679"/>
        <pc:sldMkLst>
          <pc:docMk/>
          <pc:sldMk cId="1790935666" sldId="834"/>
        </pc:sldMkLst>
        <pc:spChg chg="del">
          <ac:chgData name="Thomas Stensitzki" userId="75cafe6b-2f2a-469b-85c4-eec3b9c972ba" providerId="ADAL" clId="{BCC88A69-F5B9-4FD7-A4CC-C0C69A3C6A8A}" dt="2021-08-15T10:01:58.331" v="3" actId="700"/>
          <ac:spMkLst>
            <pc:docMk/>
            <pc:sldMk cId="1790935666" sldId="834"/>
            <ac:spMk id="2" creationId="{E4DCC5F0-F44F-4754-A73D-1016D99F41F6}"/>
          </ac:spMkLst>
        </pc:spChg>
        <pc:spChg chg="del">
          <ac:chgData name="Thomas Stensitzki" userId="75cafe6b-2f2a-469b-85c4-eec3b9c972ba" providerId="ADAL" clId="{BCC88A69-F5B9-4FD7-A4CC-C0C69A3C6A8A}" dt="2021-08-15T10:01:58.331" v="3" actId="700"/>
          <ac:spMkLst>
            <pc:docMk/>
            <pc:sldMk cId="1790935666" sldId="834"/>
            <ac:spMk id="3" creationId="{F6754E60-3E64-4F41-BDC8-200C1E1CA3D8}"/>
          </ac:spMkLst>
        </pc:spChg>
        <pc:picChg chg="add mod">
          <ac:chgData name="Thomas Stensitzki" userId="75cafe6b-2f2a-469b-85c4-eec3b9c972ba" providerId="ADAL" clId="{BCC88A69-F5B9-4FD7-A4CC-C0C69A3C6A8A}" dt="2021-08-15T10:02:20.917" v="4" actId="931"/>
          <ac:picMkLst>
            <pc:docMk/>
            <pc:sldMk cId="1790935666" sldId="834"/>
            <ac:picMk id="5" creationId="{F25B53BE-9AAC-4B2F-BADE-6ED56A9D6A0A}"/>
          </ac:picMkLst>
        </pc:picChg>
      </pc:sldChg>
      <pc:sldChg chg="addSp delSp modSp new mod modClrScheme modAnim chgLayout modNotes">
        <pc:chgData name="Thomas Stensitzki" userId="75cafe6b-2f2a-469b-85c4-eec3b9c972ba" providerId="ADAL" clId="{BCC88A69-F5B9-4FD7-A4CC-C0C69A3C6A8A}" dt="2021-08-15T10:18:47.886" v="582" actId="790"/>
        <pc:sldMkLst>
          <pc:docMk/>
          <pc:sldMk cId="1187760855" sldId="835"/>
        </pc:sldMkLst>
        <pc:spChg chg="del mod ord">
          <ac:chgData name="Thomas Stensitzki" userId="75cafe6b-2f2a-469b-85c4-eec3b9c972ba" providerId="ADAL" clId="{BCC88A69-F5B9-4FD7-A4CC-C0C69A3C6A8A}" dt="2021-08-15T10:08:54.347" v="152" actId="700"/>
          <ac:spMkLst>
            <pc:docMk/>
            <pc:sldMk cId="1187760855" sldId="835"/>
            <ac:spMk id="2" creationId="{12BA7009-B776-46A7-B7B5-BEB5E30A88AD}"/>
          </ac:spMkLst>
        </pc:spChg>
        <pc:spChg chg="del mod ord">
          <ac:chgData name="Thomas Stensitzki" userId="75cafe6b-2f2a-469b-85c4-eec3b9c972ba" providerId="ADAL" clId="{BCC88A69-F5B9-4FD7-A4CC-C0C69A3C6A8A}" dt="2021-08-15T10:08:54.347" v="152" actId="700"/>
          <ac:spMkLst>
            <pc:docMk/>
            <pc:sldMk cId="1187760855" sldId="835"/>
            <ac:spMk id="3" creationId="{8C10BE39-2F10-47D3-ADF9-8DC6779CBF16}"/>
          </ac:spMkLst>
        </pc:spChg>
        <pc:spChg chg="add mod ord">
          <ac:chgData name="Thomas Stensitzki" userId="75cafe6b-2f2a-469b-85c4-eec3b9c972ba" providerId="ADAL" clId="{BCC88A69-F5B9-4FD7-A4CC-C0C69A3C6A8A}" dt="2021-08-15T10:18:47.881" v="576" actId="790"/>
          <ac:spMkLst>
            <pc:docMk/>
            <pc:sldMk cId="1187760855" sldId="835"/>
            <ac:spMk id="4" creationId="{A69A1A65-5E2F-4A07-BDC1-2428C2EA2B80}"/>
          </ac:spMkLst>
        </pc:spChg>
        <pc:spChg chg="add del mod ord">
          <ac:chgData name="Thomas Stensitzki" userId="75cafe6b-2f2a-469b-85c4-eec3b9c972ba" providerId="ADAL" clId="{BCC88A69-F5B9-4FD7-A4CC-C0C69A3C6A8A}" dt="2021-08-15T10:11:24.036" v="216" actId="700"/>
          <ac:spMkLst>
            <pc:docMk/>
            <pc:sldMk cId="1187760855" sldId="835"/>
            <ac:spMk id="5" creationId="{11AA1B0D-D4F5-49AF-A07D-BBDBE1175C75}"/>
          </ac:spMkLst>
        </pc:spChg>
        <pc:spChg chg="add mod">
          <ac:chgData name="Thomas Stensitzki" userId="75cafe6b-2f2a-469b-85c4-eec3b9c972ba" providerId="ADAL" clId="{BCC88A69-F5B9-4FD7-A4CC-C0C69A3C6A8A}" dt="2021-08-15T10:18:47.882" v="578"/>
          <ac:spMkLst>
            <pc:docMk/>
            <pc:sldMk cId="1187760855" sldId="835"/>
            <ac:spMk id="7" creationId="{AF2AE998-C80E-4D8C-967F-A4843EBD97A4}"/>
          </ac:spMkLst>
        </pc:spChg>
        <pc:spChg chg="add mod">
          <ac:chgData name="Thomas Stensitzki" userId="75cafe6b-2f2a-469b-85c4-eec3b9c972ba" providerId="ADAL" clId="{BCC88A69-F5B9-4FD7-A4CC-C0C69A3C6A8A}" dt="2021-08-15T10:18:47.883" v="579"/>
          <ac:spMkLst>
            <pc:docMk/>
            <pc:sldMk cId="1187760855" sldId="835"/>
            <ac:spMk id="8" creationId="{C8E57495-CAB5-4DB2-9D1E-AA5A6B1C427E}"/>
          </ac:spMkLst>
        </pc:spChg>
        <pc:spChg chg="add del">
          <ac:chgData name="Thomas Stensitzki" userId="75cafe6b-2f2a-469b-85c4-eec3b9c972ba" providerId="ADAL" clId="{BCC88A69-F5B9-4FD7-A4CC-C0C69A3C6A8A}" dt="2021-08-15T10:11:05.567" v="215" actId="22"/>
          <ac:spMkLst>
            <pc:docMk/>
            <pc:sldMk cId="1187760855" sldId="835"/>
            <ac:spMk id="10" creationId="{7C623E13-5C23-4602-8A27-E416A1AABE2F}"/>
          </ac:spMkLst>
        </pc:spChg>
        <pc:spChg chg="add mod ord">
          <ac:chgData name="Thomas Stensitzki" userId="75cafe6b-2f2a-469b-85c4-eec3b9c972ba" providerId="ADAL" clId="{BCC88A69-F5B9-4FD7-A4CC-C0C69A3C6A8A}" dt="2021-08-15T10:18:47.882" v="577" actId="790"/>
          <ac:spMkLst>
            <pc:docMk/>
            <pc:sldMk cId="1187760855" sldId="835"/>
            <ac:spMk id="11" creationId="{C760284D-89A5-45CA-A6A5-2B68A0A3F77D}"/>
          </ac:spMkLst>
        </pc:spChg>
        <pc:spChg chg="add mod">
          <ac:chgData name="Thomas Stensitzki" userId="75cafe6b-2f2a-469b-85c4-eec3b9c972ba" providerId="ADAL" clId="{BCC88A69-F5B9-4FD7-A4CC-C0C69A3C6A8A}" dt="2021-08-15T10:18:47.884" v="580" actId="790"/>
          <ac:spMkLst>
            <pc:docMk/>
            <pc:sldMk cId="1187760855" sldId="835"/>
            <ac:spMk id="12" creationId="{029844FE-8361-490B-AB1E-A8E3DD0E71DC}"/>
          </ac:spMkLst>
        </pc:spChg>
        <pc:picChg chg="add mod">
          <ac:chgData name="Thomas Stensitzki" userId="75cafe6b-2f2a-469b-85c4-eec3b9c972ba" providerId="ADAL" clId="{BCC88A69-F5B9-4FD7-A4CC-C0C69A3C6A8A}" dt="2021-08-15T10:09:08.889" v="154" actId="1076"/>
          <ac:picMkLst>
            <pc:docMk/>
            <pc:sldMk cId="1187760855" sldId="835"/>
            <ac:picMk id="6" creationId="{63349C31-3CB6-4AFE-BE30-A4F224C9F9EF}"/>
          </ac:picMkLst>
        </pc:picChg>
      </pc:sldChg>
      <pc:sldChg chg="addSp delSp modSp new mod modAnim modNotes">
        <pc:chgData name="Thomas Stensitzki" userId="75cafe6b-2f2a-469b-85c4-eec3b9c972ba" providerId="ADAL" clId="{BCC88A69-F5B9-4FD7-A4CC-C0C69A3C6A8A}" dt="2021-08-15T10:18:47.891" v="589" actId="790"/>
        <pc:sldMkLst>
          <pc:docMk/>
          <pc:sldMk cId="2373121068" sldId="836"/>
        </pc:sldMkLst>
        <pc:spChg chg="mod">
          <ac:chgData name="Thomas Stensitzki" userId="75cafe6b-2f2a-469b-85c4-eec3b9c972ba" providerId="ADAL" clId="{BCC88A69-F5B9-4FD7-A4CC-C0C69A3C6A8A}" dt="2021-08-15T10:18:47.887" v="583" actId="790"/>
          <ac:spMkLst>
            <pc:docMk/>
            <pc:sldMk cId="2373121068" sldId="836"/>
            <ac:spMk id="2" creationId="{C6D74C71-C2B3-4B88-8F0B-A18327460CDF}"/>
          </ac:spMkLst>
        </pc:spChg>
        <pc:spChg chg="mod">
          <ac:chgData name="Thomas Stensitzki" userId="75cafe6b-2f2a-469b-85c4-eec3b9c972ba" providerId="ADAL" clId="{BCC88A69-F5B9-4FD7-A4CC-C0C69A3C6A8A}" dt="2021-08-15T10:18:47.888" v="584" actId="790"/>
          <ac:spMkLst>
            <pc:docMk/>
            <pc:sldMk cId="2373121068" sldId="836"/>
            <ac:spMk id="3" creationId="{D4458EFE-1AB3-4766-AEF5-E28301F8F014}"/>
          </ac:spMkLst>
        </pc:spChg>
        <pc:spChg chg="mod">
          <ac:chgData name="Thomas Stensitzki" userId="75cafe6b-2f2a-469b-85c4-eec3b9c972ba" providerId="ADAL" clId="{BCC88A69-F5B9-4FD7-A4CC-C0C69A3C6A8A}" dt="2021-08-15T10:18:47.889" v="585" actId="790"/>
          <ac:spMkLst>
            <pc:docMk/>
            <pc:sldMk cId="2373121068" sldId="836"/>
            <ac:spMk id="4" creationId="{85ED63C1-9C29-4103-8AD1-0DE922AA7BF6}"/>
          </ac:spMkLst>
        </pc:spChg>
        <pc:spChg chg="add del mod">
          <ac:chgData name="Thomas Stensitzki" userId="75cafe6b-2f2a-469b-85c4-eec3b9c972ba" providerId="ADAL" clId="{BCC88A69-F5B9-4FD7-A4CC-C0C69A3C6A8A}" dt="2021-08-15T10:18:47.889" v="586" actId="790"/>
          <ac:spMkLst>
            <pc:docMk/>
            <pc:sldMk cId="2373121068" sldId="836"/>
            <ac:spMk id="5" creationId="{5783E108-01CB-483E-94F6-9604D4DD92D4}"/>
          </ac:spMkLst>
        </pc:spChg>
        <pc:spChg chg="add mod">
          <ac:chgData name="Thomas Stensitzki" userId="75cafe6b-2f2a-469b-85c4-eec3b9c972ba" providerId="ADAL" clId="{BCC88A69-F5B9-4FD7-A4CC-C0C69A3C6A8A}" dt="2021-08-15T10:18:47.890" v="587"/>
          <ac:spMkLst>
            <pc:docMk/>
            <pc:sldMk cId="2373121068" sldId="836"/>
            <ac:spMk id="7" creationId="{12558EC0-58F2-4681-851C-2548ED01ED98}"/>
          </ac:spMkLst>
        </pc:spChg>
        <pc:picChg chg="add mod">
          <ac:chgData name="Thomas Stensitzki" userId="75cafe6b-2f2a-469b-85c4-eec3b9c972ba" providerId="ADAL" clId="{BCC88A69-F5B9-4FD7-A4CC-C0C69A3C6A8A}" dt="2021-08-15T10:10:03.682" v="174" actId="1076"/>
          <ac:picMkLst>
            <pc:docMk/>
            <pc:sldMk cId="2373121068" sldId="836"/>
            <ac:picMk id="6" creationId="{3D261ECB-2274-4965-A60E-8B959629FC51}"/>
          </ac:picMkLst>
        </pc:picChg>
      </pc:sldChg>
      <pc:sldChg chg="addSp delSp modSp new mod modAnim chgLayout modNotes">
        <pc:chgData name="Thomas Stensitzki" userId="75cafe6b-2f2a-469b-85c4-eec3b9c972ba" providerId="ADAL" clId="{BCC88A69-F5B9-4FD7-A4CC-C0C69A3C6A8A}" dt="2021-08-17T08:30:58.825" v="7454"/>
        <pc:sldMkLst>
          <pc:docMk/>
          <pc:sldMk cId="3270075557" sldId="837"/>
        </pc:sldMkLst>
        <pc:spChg chg="mod ord">
          <ac:chgData name="Thomas Stensitzki" userId="75cafe6b-2f2a-469b-85c4-eec3b9c972ba" providerId="ADAL" clId="{BCC88A69-F5B9-4FD7-A4CC-C0C69A3C6A8A}" dt="2021-08-17T08:30:11.385" v="7448" actId="700"/>
          <ac:spMkLst>
            <pc:docMk/>
            <pc:sldMk cId="3270075557" sldId="837"/>
            <ac:spMk id="2" creationId="{84C1DC02-E8D2-4AA7-9C94-B22BFC95AB5C}"/>
          </ac:spMkLst>
        </pc:spChg>
        <pc:spChg chg="del mod">
          <ac:chgData name="Thomas Stensitzki" userId="75cafe6b-2f2a-469b-85c4-eec3b9c972ba" providerId="ADAL" clId="{BCC88A69-F5B9-4FD7-A4CC-C0C69A3C6A8A}" dt="2021-08-17T08:30:11.385" v="7448" actId="700"/>
          <ac:spMkLst>
            <pc:docMk/>
            <pc:sldMk cId="3270075557" sldId="837"/>
            <ac:spMk id="3" creationId="{8041866D-9918-4474-A5DD-E6B1B14671C5}"/>
          </ac:spMkLst>
        </pc:spChg>
        <pc:spChg chg="del mod ord">
          <ac:chgData name="Thomas Stensitzki" userId="75cafe6b-2f2a-469b-85c4-eec3b9c972ba" providerId="ADAL" clId="{BCC88A69-F5B9-4FD7-A4CC-C0C69A3C6A8A}" dt="2021-08-17T08:30:14.933" v="7449" actId="478"/>
          <ac:spMkLst>
            <pc:docMk/>
            <pc:sldMk cId="3270075557" sldId="837"/>
            <ac:spMk id="4" creationId="{B612235B-41ED-409C-B0A8-DD970C4672A7}"/>
          </ac:spMkLst>
        </pc:spChg>
        <pc:spChg chg="mod ord">
          <ac:chgData name="Thomas Stensitzki" userId="75cafe6b-2f2a-469b-85c4-eec3b9c972ba" providerId="ADAL" clId="{BCC88A69-F5B9-4FD7-A4CC-C0C69A3C6A8A}" dt="2021-08-17T08:30:11.385" v="7448" actId="700"/>
          <ac:spMkLst>
            <pc:docMk/>
            <pc:sldMk cId="3270075557" sldId="837"/>
            <ac:spMk id="5" creationId="{82110F95-6930-4345-A172-879DE8A6C521}"/>
          </ac:spMkLst>
        </pc:spChg>
        <pc:spChg chg="add mod">
          <ac:chgData name="Thomas Stensitzki" userId="75cafe6b-2f2a-469b-85c4-eec3b9c972ba" providerId="ADAL" clId="{BCC88A69-F5B9-4FD7-A4CC-C0C69A3C6A8A}" dt="2021-08-15T10:18:47.894" v="594" actId="790"/>
          <ac:spMkLst>
            <pc:docMk/>
            <pc:sldMk cId="3270075557" sldId="837"/>
            <ac:spMk id="6" creationId="{BE818CBD-2BBB-4986-B3E6-FA4DA72B5477}"/>
          </ac:spMkLst>
        </pc:spChg>
        <pc:spChg chg="add mod">
          <ac:chgData name="Thomas Stensitzki" userId="75cafe6b-2f2a-469b-85c4-eec3b9c972ba" providerId="ADAL" clId="{BCC88A69-F5B9-4FD7-A4CC-C0C69A3C6A8A}" dt="2021-08-15T10:18:47.895" v="595" actId="790"/>
          <ac:spMkLst>
            <pc:docMk/>
            <pc:sldMk cId="3270075557" sldId="837"/>
            <ac:spMk id="7" creationId="{B05A1DB3-9EEA-41F0-9E3E-7E7EBF552C00}"/>
          </ac:spMkLst>
        </pc:spChg>
        <pc:spChg chg="add mod">
          <ac:chgData name="Thomas Stensitzki" userId="75cafe6b-2f2a-469b-85c4-eec3b9c972ba" providerId="ADAL" clId="{BCC88A69-F5B9-4FD7-A4CC-C0C69A3C6A8A}" dt="2021-08-15T10:18:47.896" v="596" actId="790"/>
          <ac:spMkLst>
            <pc:docMk/>
            <pc:sldMk cId="3270075557" sldId="837"/>
            <ac:spMk id="8" creationId="{B5C13035-880C-4EBE-A558-168AF1D4D03B}"/>
          </ac:spMkLst>
        </pc:spChg>
        <pc:spChg chg="add mod">
          <ac:chgData name="Thomas Stensitzki" userId="75cafe6b-2f2a-469b-85c4-eec3b9c972ba" providerId="ADAL" clId="{BCC88A69-F5B9-4FD7-A4CC-C0C69A3C6A8A}" dt="2021-08-15T10:18:47.897" v="597" actId="790"/>
          <ac:spMkLst>
            <pc:docMk/>
            <pc:sldMk cId="3270075557" sldId="837"/>
            <ac:spMk id="9" creationId="{A2C9D5EA-18FE-485C-B021-18788D539954}"/>
          </ac:spMkLst>
        </pc:spChg>
        <pc:spChg chg="add mod">
          <ac:chgData name="Thomas Stensitzki" userId="75cafe6b-2f2a-469b-85c4-eec3b9c972ba" providerId="ADAL" clId="{BCC88A69-F5B9-4FD7-A4CC-C0C69A3C6A8A}" dt="2021-08-15T10:18:47.898" v="598" actId="790"/>
          <ac:spMkLst>
            <pc:docMk/>
            <pc:sldMk cId="3270075557" sldId="837"/>
            <ac:spMk id="10" creationId="{410225A4-6D33-44E5-A7C7-72BA64B277BC}"/>
          </ac:spMkLst>
        </pc:spChg>
        <pc:spChg chg="add mod">
          <ac:chgData name="Thomas Stensitzki" userId="75cafe6b-2f2a-469b-85c4-eec3b9c972ba" providerId="ADAL" clId="{BCC88A69-F5B9-4FD7-A4CC-C0C69A3C6A8A}" dt="2021-08-15T10:18:47.898" v="599" actId="790"/>
          <ac:spMkLst>
            <pc:docMk/>
            <pc:sldMk cId="3270075557" sldId="837"/>
            <ac:spMk id="11" creationId="{765DC907-350B-4948-AF65-F795D07092E7}"/>
          </ac:spMkLst>
        </pc:spChg>
        <pc:spChg chg="add mod">
          <ac:chgData name="Thomas Stensitzki" userId="75cafe6b-2f2a-469b-85c4-eec3b9c972ba" providerId="ADAL" clId="{BCC88A69-F5B9-4FD7-A4CC-C0C69A3C6A8A}" dt="2021-08-17T08:30:55.106" v="7453" actId="20577"/>
          <ac:spMkLst>
            <pc:docMk/>
            <pc:sldMk cId="3270075557" sldId="837"/>
            <ac:spMk id="17" creationId="{FD622411-B6BA-4CFC-9655-4858135182C8}"/>
          </ac:spMkLst>
        </pc:spChg>
        <pc:spChg chg="add mod ord">
          <ac:chgData name="Thomas Stensitzki" userId="75cafe6b-2f2a-469b-85c4-eec3b9c972ba" providerId="ADAL" clId="{BCC88A69-F5B9-4FD7-A4CC-C0C69A3C6A8A}" dt="2021-08-17T08:30:11.385" v="7448" actId="700"/>
          <ac:spMkLst>
            <pc:docMk/>
            <pc:sldMk cId="3270075557" sldId="837"/>
            <ac:spMk id="18" creationId="{75E0C04D-7076-4496-95C2-12DAE1B8E65C}"/>
          </ac:spMkLst>
        </pc:spChg>
        <pc:cxnChg chg="add mod">
          <ac:chgData name="Thomas Stensitzki" userId="75cafe6b-2f2a-469b-85c4-eec3b9c972ba" providerId="ADAL" clId="{BCC88A69-F5B9-4FD7-A4CC-C0C69A3C6A8A}" dt="2021-08-15T10:12:04.862" v="219" actId="1076"/>
          <ac:cxnSpMkLst>
            <pc:docMk/>
            <pc:sldMk cId="3270075557" sldId="837"/>
            <ac:cxnSpMk id="12" creationId="{CAE8EAFA-8C1E-445C-8728-F5E32E4E4EE2}"/>
          </ac:cxnSpMkLst>
        </pc:cxnChg>
        <pc:cxnChg chg="add mod">
          <ac:chgData name="Thomas Stensitzki" userId="75cafe6b-2f2a-469b-85c4-eec3b9c972ba" providerId="ADAL" clId="{BCC88A69-F5B9-4FD7-A4CC-C0C69A3C6A8A}" dt="2021-08-15T10:12:04.862" v="219" actId="1076"/>
          <ac:cxnSpMkLst>
            <pc:docMk/>
            <pc:sldMk cId="3270075557" sldId="837"/>
            <ac:cxnSpMk id="13" creationId="{8EB2598D-6C66-4B0B-88F3-3204DD5B006F}"/>
          </ac:cxnSpMkLst>
        </pc:cxnChg>
        <pc:cxnChg chg="add mod">
          <ac:chgData name="Thomas Stensitzki" userId="75cafe6b-2f2a-469b-85c4-eec3b9c972ba" providerId="ADAL" clId="{BCC88A69-F5B9-4FD7-A4CC-C0C69A3C6A8A}" dt="2021-08-15T10:12:04.862" v="219" actId="1076"/>
          <ac:cxnSpMkLst>
            <pc:docMk/>
            <pc:sldMk cId="3270075557" sldId="837"/>
            <ac:cxnSpMk id="14" creationId="{64B681FE-42E1-450F-B321-87060D709BDA}"/>
          </ac:cxnSpMkLst>
        </pc:cxnChg>
        <pc:cxnChg chg="add mod">
          <ac:chgData name="Thomas Stensitzki" userId="75cafe6b-2f2a-469b-85c4-eec3b9c972ba" providerId="ADAL" clId="{BCC88A69-F5B9-4FD7-A4CC-C0C69A3C6A8A}" dt="2021-08-15T10:12:04.862" v="219" actId="1076"/>
          <ac:cxnSpMkLst>
            <pc:docMk/>
            <pc:sldMk cId="3270075557" sldId="837"/>
            <ac:cxnSpMk id="15" creationId="{F6CE3F78-9226-42ED-96A2-2A5957BE6CD0}"/>
          </ac:cxnSpMkLst>
        </pc:cxnChg>
        <pc:cxnChg chg="add mod">
          <ac:chgData name="Thomas Stensitzki" userId="75cafe6b-2f2a-469b-85c4-eec3b9c972ba" providerId="ADAL" clId="{BCC88A69-F5B9-4FD7-A4CC-C0C69A3C6A8A}" dt="2021-08-15T10:12:04.862" v="219" actId="1076"/>
          <ac:cxnSpMkLst>
            <pc:docMk/>
            <pc:sldMk cId="3270075557" sldId="837"/>
            <ac:cxnSpMk id="16" creationId="{3F08EB83-E34C-414E-89B5-3031EE6CF709}"/>
          </ac:cxnSpMkLst>
        </pc:cxnChg>
      </pc:sldChg>
      <pc:sldChg chg="addSp modSp new mod modAnim modNotes">
        <pc:chgData name="Thomas Stensitzki" userId="75cafe6b-2f2a-469b-85c4-eec3b9c972ba" providerId="ADAL" clId="{BCC88A69-F5B9-4FD7-A4CC-C0C69A3C6A8A}" dt="2021-08-15T10:18:47.931" v="653" actId="790"/>
        <pc:sldMkLst>
          <pc:docMk/>
          <pc:sldMk cId="832613260" sldId="838"/>
        </pc:sldMkLst>
        <pc:spChg chg="mod">
          <ac:chgData name="Thomas Stensitzki" userId="75cafe6b-2f2a-469b-85c4-eec3b9c972ba" providerId="ADAL" clId="{BCC88A69-F5B9-4FD7-A4CC-C0C69A3C6A8A}" dt="2021-08-15T10:18:47.901" v="603" actId="790"/>
          <ac:spMkLst>
            <pc:docMk/>
            <pc:sldMk cId="832613260" sldId="838"/>
            <ac:spMk id="2" creationId="{7193A910-70D8-428A-913B-05C06A36D915}"/>
          </ac:spMkLst>
        </pc:spChg>
        <pc:spChg chg="mod">
          <ac:chgData name="Thomas Stensitzki" userId="75cafe6b-2f2a-469b-85c4-eec3b9c972ba" providerId="ADAL" clId="{BCC88A69-F5B9-4FD7-A4CC-C0C69A3C6A8A}" dt="2021-08-15T10:18:47.902" v="604" actId="790"/>
          <ac:spMkLst>
            <pc:docMk/>
            <pc:sldMk cId="832613260" sldId="838"/>
            <ac:spMk id="3" creationId="{5D2B55B6-3BE4-464C-8ADB-027C7B67AABC}"/>
          </ac:spMkLst>
        </pc:spChg>
        <pc:spChg chg="mod">
          <ac:chgData name="Thomas Stensitzki" userId="75cafe6b-2f2a-469b-85c4-eec3b9c972ba" providerId="ADAL" clId="{BCC88A69-F5B9-4FD7-A4CC-C0C69A3C6A8A}" dt="2021-08-15T10:18:47.903" v="605" actId="790"/>
          <ac:spMkLst>
            <pc:docMk/>
            <pc:sldMk cId="832613260" sldId="838"/>
            <ac:spMk id="4" creationId="{A7CDB30C-3195-4F05-9211-A1943CD86E0B}"/>
          </ac:spMkLst>
        </pc:spChg>
        <pc:spChg chg="mod">
          <ac:chgData name="Thomas Stensitzki" userId="75cafe6b-2f2a-469b-85c4-eec3b9c972ba" providerId="ADAL" clId="{BCC88A69-F5B9-4FD7-A4CC-C0C69A3C6A8A}" dt="2021-08-15T10:18:47.904" v="606" actId="790"/>
          <ac:spMkLst>
            <pc:docMk/>
            <pc:sldMk cId="832613260" sldId="838"/>
            <ac:spMk id="5" creationId="{72B81954-9035-4EFA-BAEB-E2D1F9E66E75}"/>
          </ac:spMkLst>
        </pc:spChg>
        <pc:spChg chg="add mod">
          <ac:chgData name="Thomas Stensitzki" userId="75cafe6b-2f2a-469b-85c4-eec3b9c972ba" providerId="ADAL" clId="{BCC88A69-F5B9-4FD7-A4CC-C0C69A3C6A8A}" dt="2021-08-15T10:18:47.904" v="607" actId="790"/>
          <ac:spMkLst>
            <pc:docMk/>
            <pc:sldMk cId="832613260" sldId="838"/>
            <ac:spMk id="6" creationId="{1380EEBD-571B-489E-A0F1-A57BF507AE0B}"/>
          </ac:spMkLst>
        </pc:spChg>
        <pc:spChg chg="add mod">
          <ac:chgData name="Thomas Stensitzki" userId="75cafe6b-2f2a-469b-85c4-eec3b9c972ba" providerId="ADAL" clId="{BCC88A69-F5B9-4FD7-A4CC-C0C69A3C6A8A}" dt="2021-08-15T10:18:47.905" v="608" actId="790"/>
          <ac:spMkLst>
            <pc:docMk/>
            <pc:sldMk cId="832613260" sldId="838"/>
            <ac:spMk id="10" creationId="{F3185AD1-4CF2-459A-9EE6-1B8CDF39B49F}"/>
          </ac:spMkLst>
        </pc:spChg>
        <pc:spChg chg="add mod">
          <ac:chgData name="Thomas Stensitzki" userId="75cafe6b-2f2a-469b-85c4-eec3b9c972ba" providerId="ADAL" clId="{BCC88A69-F5B9-4FD7-A4CC-C0C69A3C6A8A}" dt="2021-08-15T10:18:47.905" v="609" actId="790"/>
          <ac:spMkLst>
            <pc:docMk/>
            <pc:sldMk cId="832613260" sldId="838"/>
            <ac:spMk id="14" creationId="{5EC66EDD-CF26-4638-B5D4-60A59F898764}"/>
          </ac:spMkLst>
        </pc:spChg>
        <pc:spChg chg="add mod">
          <ac:chgData name="Thomas Stensitzki" userId="75cafe6b-2f2a-469b-85c4-eec3b9c972ba" providerId="ADAL" clId="{BCC88A69-F5B9-4FD7-A4CC-C0C69A3C6A8A}" dt="2021-08-15T10:18:47.906" v="610" actId="790"/>
          <ac:spMkLst>
            <pc:docMk/>
            <pc:sldMk cId="832613260" sldId="838"/>
            <ac:spMk id="16" creationId="{E436552D-892A-43B7-844A-952F33CABA36}"/>
          </ac:spMkLst>
        </pc:spChg>
        <pc:spChg chg="add mod">
          <ac:chgData name="Thomas Stensitzki" userId="75cafe6b-2f2a-469b-85c4-eec3b9c972ba" providerId="ADAL" clId="{BCC88A69-F5B9-4FD7-A4CC-C0C69A3C6A8A}" dt="2021-08-15T10:18:47.906" v="611" actId="790"/>
          <ac:spMkLst>
            <pc:docMk/>
            <pc:sldMk cId="832613260" sldId="838"/>
            <ac:spMk id="18" creationId="{379E5D4F-26DC-4E7F-9E26-B9570BB1C8BC}"/>
          </ac:spMkLst>
        </pc:spChg>
        <pc:spChg chg="add mod">
          <ac:chgData name="Thomas Stensitzki" userId="75cafe6b-2f2a-469b-85c4-eec3b9c972ba" providerId="ADAL" clId="{BCC88A69-F5B9-4FD7-A4CC-C0C69A3C6A8A}" dt="2021-08-15T10:18:47.907" v="612" actId="790"/>
          <ac:spMkLst>
            <pc:docMk/>
            <pc:sldMk cId="832613260" sldId="838"/>
            <ac:spMk id="20" creationId="{1EA97E38-3784-4A1F-BD83-D15D313412E1}"/>
          </ac:spMkLst>
        </pc:spChg>
        <pc:spChg chg="add mod">
          <ac:chgData name="Thomas Stensitzki" userId="75cafe6b-2f2a-469b-85c4-eec3b9c972ba" providerId="ADAL" clId="{BCC88A69-F5B9-4FD7-A4CC-C0C69A3C6A8A}" dt="2021-08-15T10:18:47.907" v="613" actId="790"/>
          <ac:spMkLst>
            <pc:docMk/>
            <pc:sldMk cId="832613260" sldId="838"/>
            <ac:spMk id="22" creationId="{064C6F49-7C2A-44C9-B5C5-4D6A9D4DD951}"/>
          </ac:spMkLst>
        </pc:spChg>
        <pc:spChg chg="add mod">
          <ac:chgData name="Thomas Stensitzki" userId="75cafe6b-2f2a-469b-85c4-eec3b9c972ba" providerId="ADAL" clId="{BCC88A69-F5B9-4FD7-A4CC-C0C69A3C6A8A}" dt="2021-08-15T10:18:47.908" v="614" actId="790"/>
          <ac:spMkLst>
            <pc:docMk/>
            <pc:sldMk cId="832613260" sldId="838"/>
            <ac:spMk id="23" creationId="{D05A24E7-3722-49F4-BC00-8F12D6ABDAC1}"/>
          </ac:spMkLst>
        </pc:spChg>
        <pc:spChg chg="add mod">
          <ac:chgData name="Thomas Stensitzki" userId="75cafe6b-2f2a-469b-85c4-eec3b9c972ba" providerId="ADAL" clId="{BCC88A69-F5B9-4FD7-A4CC-C0C69A3C6A8A}" dt="2021-08-15T10:18:47.908" v="615" actId="790"/>
          <ac:spMkLst>
            <pc:docMk/>
            <pc:sldMk cId="832613260" sldId="838"/>
            <ac:spMk id="24" creationId="{A799B5F1-B060-425A-A173-03B2F471B5E1}"/>
          </ac:spMkLst>
        </pc:spChg>
        <pc:spChg chg="add mod">
          <ac:chgData name="Thomas Stensitzki" userId="75cafe6b-2f2a-469b-85c4-eec3b9c972ba" providerId="ADAL" clId="{BCC88A69-F5B9-4FD7-A4CC-C0C69A3C6A8A}" dt="2021-08-15T10:18:47.909" v="616" actId="790"/>
          <ac:spMkLst>
            <pc:docMk/>
            <pc:sldMk cId="832613260" sldId="838"/>
            <ac:spMk id="25" creationId="{39793D09-7FA8-4416-BBF7-96E3B5124C8E}"/>
          </ac:spMkLst>
        </pc:spChg>
        <pc:spChg chg="add mod">
          <ac:chgData name="Thomas Stensitzki" userId="75cafe6b-2f2a-469b-85c4-eec3b9c972ba" providerId="ADAL" clId="{BCC88A69-F5B9-4FD7-A4CC-C0C69A3C6A8A}" dt="2021-08-15T10:18:47.910" v="617" actId="790"/>
          <ac:spMkLst>
            <pc:docMk/>
            <pc:sldMk cId="832613260" sldId="838"/>
            <ac:spMk id="27" creationId="{19897B3B-54F6-4066-A730-485B4CD02AD8}"/>
          </ac:spMkLst>
        </pc:spChg>
        <pc:spChg chg="add mod">
          <ac:chgData name="Thomas Stensitzki" userId="75cafe6b-2f2a-469b-85c4-eec3b9c972ba" providerId="ADAL" clId="{BCC88A69-F5B9-4FD7-A4CC-C0C69A3C6A8A}" dt="2021-08-15T10:18:47.910" v="618" actId="790"/>
          <ac:spMkLst>
            <pc:docMk/>
            <pc:sldMk cId="832613260" sldId="838"/>
            <ac:spMk id="28" creationId="{39AF27DA-B790-4840-8B57-2B4C26C43D30}"/>
          </ac:spMkLst>
        </pc:spChg>
        <pc:spChg chg="add mod">
          <ac:chgData name="Thomas Stensitzki" userId="75cafe6b-2f2a-469b-85c4-eec3b9c972ba" providerId="ADAL" clId="{BCC88A69-F5B9-4FD7-A4CC-C0C69A3C6A8A}" dt="2021-08-15T10:18:47.911" v="619" actId="790"/>
          <ac:spMkLst>
            <pc:docMk/>
            <pc:sldMk cId="832613260" sldId="838"/>
            <ac:spMk id="29" creationId="{F94B333A-A891-4729-8877-2529758709EE}"/>
          </ac:spMkLst>
        </pc:spChg>
        <pc:spChg chg="add mod">
          <ac:chgData name="Thomas Stensitzki" userId="75cafe6b-2f2a-469b-85c4-eec3b9c972ba" providerId="ADAL" clId="{BCC88A69-F5B9-4FD7-A4CC-C0C69A3C6A8A}" dt="2021-08-15T10:18:47.911" v="620" actId="790"/>
          <ac:spMkLst>
            <pc:docMk/>
            <pc:sldMk cId="832613260" sldId="838"/>
            <ac:spMk id="30" creationId="{E3B240DF-8C8D-446B-9ABF-E3D83DD0B355}"/>
          </ac:spMkLst>
        </pc:spChg>
        <pc:spChg chg="add mod">
          <ac:chgData name="Thomas Stensitzki" userId="75cafe6b-2f2a-469b-85c4-eec3b9c972ba" providerId="ADAL" clId="{BCC88A69-F5B9-4FD7-A4CC-C0C69A3C6A8A}" dt="2021-08-15T10:18:47.912" v="621" actId="790"/>
          <ac:spMkLst>
            <pc:docMk/>
            <pc:sldMk cId="832613260" sldId="838"/>
            <ac:spMk id="31" creationId="{165F5FC7-79DA-411B-9D94-0A2E4B587DB3}"/>
          </ac:spMkLst>
        </pc:spChg>
        <pc:spChg chg="add mod">
          <ac:chgData name="Thomas Stensitzki" userId="75cafe6b-2f2a-469b-85c4-eec3b9c972ba" providerId="ADAL" clId="{BCC88A69-F5B9-4FD7-A4CC-C0C69A3C6A8A}" dt="2021-08-15T10:18:47.913" v="622" actId="790"/>
          <ac:spMkLst>
            <pc:docMk/>
            <pc:sldMk cId="832613260" sldId="838"/>
            <ac:spMk id="32" creationId="{D6D75116-8073-4BD2-9773-B93FB561AF86}"/>
          </ac:spMkLst>
        </pc:spChg>
        <pc:spChg chg="add mod">
          <ac:chgData name="Thomas Stensitzki" userId="75cafe6b-2f2a-469b-85c4-eec3b9c972ba" providerId="ADAL" clId="{BCC88A69-F5B9-4FD7-A4CC-C0C69A3C6A8A}" dt="2021-08-15T10:18:47.913" v="623" actId="790"/>
          <ac:spMkLst>
            <pc:docMk/>
            <pc:sldMk cId="832613260" sldId="838"/>
            <ac:spMk id="33" creationId="{5595228E-22C0-4125-B81A-C678AD33C276}"/>
          </ac:spMkLst>
        </pc:spChg>
        <pc:spChg chg="add mod">
          <ac:chgData name="Thomas Stensitzki" userId="75cafe6b-2f2a-469b-85c4-eec3b9c972ba" providerId="ADAL" clId="{BCC88A69-F5B9-4FD7-A4CC-C0C69A3C6A8A}" dt="2021-08-15T10:18:47.914" v="624" actId="790"/>
          <ac:spMkLst>
            <pc:docMk/>
            <pc:sldMk cId="832613260" sldId="838"/>
            <ac:spMk id="35" creationId="{25B097FC-0884-4426-906A-F0D2A24A9E6D}"/>
          </ac:spMkLst>
        </pc:spChg>
        <pc:spChg chg="add mod">
          <ac:chgData name="Thomas Stensitzki" userId="75cafe6b-2f2a-469b-85c4-eec3b9c972ba" providerId="ADAL" clId="{BCC88A69-F5B9-4FD7-A4CC-C0C69A3C6A8A}" dt="2021-08-15T10:18:47.914" v="625" actId="790"/>
          <ac:spMkLst>
            <pc:docMk/>
            <pc:sldMk cId="832613260" sldId="838"/>
            <ac:spMk id="36" creationId="{45B970D3-8126-4E4E-8A98-83D00C96FE86}"/>
          </ac:spMkLst>
        </pc:spChg>
        <pc:spChg chg="add mod">
          <ac:chgData name="Thomas Stensitzki" userId="75cafe6b-2f2a-469b-85c4-eec3b9c972ba" providerId="ADAL" clId="{BCC88A69-F5B9-4FD7-A4CC-C0C69A3C6A8A}" dt="2021-08-15T10:18:47.915" v="626" actId="790"/>
          <ac:spMkLst>
            <pc:docMk/>
            <pc:sldMk cId="832613260" sldId="838"/>
            <ac:spMk id="38" creationId="{7461FBB3-BCD6-4F69-A3F2-883535FE16CA}"/>
          </ac:spMkLst>
        </pc:spChg>
        <pc:spChg chg="add mod">
          <ac:chgData name="Thomas Stensitzki" userId="75cafe6b-2f2a-469b-85c4-eec3b9c972ba" providerId="ADAL" clId="{BCC88A69-F5B9-4FD7-A4CC-C0C69A3C6A8A}" dt="2021-08-15T10:18:47.915" v="627" actId="790"/>
          <ac:spMkLst>
            <pc:docMk/>
            <pc:sldMk cId="832613260" sldId="838"/>
            <ac:spMk id="39" creationId="{71AD73B4-E608-47F6-A7FD-94D5280051CC}"/>
          </ac:spMkLst>
        </pc:spChg>
        <pc:spChg chg="add mod">
          <ac:chgData name="Thomas Stensitzki" userId="75cafe6b-2f2a-469b-85c4-eec3b9c972ba" providerId="ADAL" clId="{BCC88A69-F5B9-4FD7-A4CC-C0C69A3C6A8A}" dt="2021-08-15T10:18:47.916" v="628" actId="790"/>
          <ac:spMkLst>
            <pc:docMk/>
            <pc:sldMk cId="832613260" sldId="838"/>
            <ac:spMk id="40" creationId="{D88D636F-3EAD-42B4-AAFC-B5CEB5F15209}"/>
          </ac:spMkLst>
        </pc:spChg>
        <pc:spChg chg="add mod">
          <ac:chgData name="Thomas Stensitzki" userId="75cafe6b-2f2a-469b-85c4-eec3b9c972ba" providerId="ADAL" clId="{BCC88A69-F5B9-4FD7-A4CC-C0C69A3C6A8A}" dt="2021-08-15T10:18:47.916" v="629" actId="790"/>
          <ac:spMkLst>
            <pc:docMk/>
            <pc:sldMk cId="832613260" sldId="838"/>
            <ac:spMk id="45" creationId="{E94F735F-2159-485F-8EEE-D666A9467A54}"/>
          </ac:spMkLst>
        </pc:spChg>
        <pc:spChg chg="add mod">
          <ac:chgData name="Thomas Stensitzki" userId="75cafe6b-2f2a-469b-85c4-eec3b9c972ba" providerId="ADAL" clId="{BCC88A69-F5B9-4FD7-A4CC-C0C69A3C6A8A}" dt="2021-08-15T10:18:47.917" v="630" actId="790"/>
          <ac:spMkLst>
            <pc:docMk/>
            <pc:sldMk cId="832613260" sldId="838"/>
            <ac:spMk id="46" creationId="{E3C0D9EE-5D5D-4C39-9A0E-E07B59BA92C6}"/>
          </ac:spMkLst>
        </pc:spChg>
        <pc:spChg chg="add mod">
          <ac:chgData name="Thomas Stensitzki" userId="75cafe6b-2f2a-469b-85c4-eec3b9c972ba" providerId="ADAL" clId="{BCC88A69-F5B9-4FD7-A4CC-C0C69A3C6A8A}" dt="2021-08-15T10:18:47.918" v="631" actId="790"/>
          <ac:spMkLst>
            <pc:docMk/>
            <pc:sldMk cId="832613260" sldId="838"/>
            <ac:spMk id="47" creationId="{E26DBF31-191A-485E-8A3B-CBA9A37D7A02}"/>
          </ac:spMkLst>
        </pc:spChg>
        <pc:spChg chg="add mod">
          <ac:chgData name="Thomas Stensitzki" userId="75cafe6b-2f2a-469b-85c4-eec3b9c972ba" providerId="ADAL" clId="{BCC88A69-F5B9-4FD7-A4CC-C0C69A3C6A8A}" dt="2021-08-15T10:18:47.918" v="632" actId="790"/>
          <ac:spMkLst>
            <pc:docMk/>
            <pc:sldMk cId="832613260" sldId="838"/>
            <ac:spMk id="48" creationId="{219F2B77-2F66-49D8-B87D-6CB34642F68B}"/>
          </ac:spMkLst>
        </pc:spChg>
        <pc:spChg chg="add mod">
          <ac:chgData name="Thomas Stensitzki" userId="75cafe6b-2f2a-469b-85c4-eec3b9c972ba" providerId="ADAL" clId="{BCC88A69-F5B9-4FD7-A4CC-C0C69A3C6A8A}" dt="2021-08-15T10:18:47.919" v="633" actId="790"/>
          <ac:spMkLst>
            <pc:docMk/>
            <pc:sldMk cId="832613260" sldId="838"/>
            <ac:spMk id="49" creationId="{910E88DF-5AE3-44B8-8932-61DCB8B407C0}"/>
          </ac:spMkLst>
        </pc:spChg>
        <pc:spChg chg="add mod">
          <ac:chgData name="Thomas Stensitzki" userId="75cafe6b-2f2a-469b-85c4-eec3b9c972ba" providerId="ADAL" clId="{BCC88A69-F5B9-4FD7-A4CC-C0C69A3C6A8A}" dt="2021-08-15T10:18:47.920" v="634" actId="790"/>
          <ac:spMkLst>
            <pc:docMk/>
            <pc:sldMk cId="832613260" sldId="838"/>
            <ac:spMk id="50" creationId="{02CF10B5-86D0-4A69-A1EE-8F40F4C557B8}"/>
          </ac:spMkLst>
        </pc:spChg>
        <pc:spChg chg="add mod">
          <ac:chgData name="Thomas Stensitzki" userId="75cafe6b-2f2a-469b-85c4-eec3b9c972ba" providerId="ADAL" clId="{BCC88A69-F5B9-4FD7-A4CC-C0C69A3C6A8A}" dt="2021-08-15T10:18:47.921" v="635" actId="790"/>
          <ac:spMkLst>
            <pc:docMk/>
            <pc:sldMk cId="832613260" sldId="838"/>
            <ac:spMk id="51" creationId="{84A4F1AE-4E53-446C-963F-CACCA5C089C0}"/>
          </ac:spMkLst>
        </pc:spChg>
        <pc:spChg chg="add mod">
          <ac:chgData name="Thomas Stensitzki" userId="75cafe6b-2f2a-469b-85c4-eec3b9c972ba" providerId="ADAL" clId="{BCC88A69-F5B9-4FD7-A4CC-C0C69A3C6A8A}" dt="2021-08-15T10:18:47.921" v="636" actId="790"/>
          <ac:spMkLst>
            <pc:docMk/>
            <pc:sldMk cId="832613260" sldId="838"/>
            <ac:spMk id="52" creationId="{81B59853-D254-436D-9581-A6F8D4EECC57}"/>
          </ac:spMkLst>
        </pc:spChg>
        <pc:spChg chg="add mod">
          <ac:chgData name="Thomas Stensitzki" userId="75cafe6b-2f2a-469b-85c4-eec3b9c972ba" providerId="ADAL" clId="{BCC88A69-F5B9-4FD7-A4CC-C0C69A3C6A8A}" dt="2021-08-15T10:18:47.922" v="637" actId="790"/>
          <ac:spMkLst>
            <pc:docMk/>
            <pc:sldMk cId="832613260" sldId="838"/>
            <ac:spMk id="53" creationId="{9FE7F262-BF76-4910-B359-C03484087CC7}"/>
          </ac:spMkLst>
        </pc:spChg>
        <pc:spChg chg="add mod">
          <ac:chgData name="Thomas Stensitzki" userId="75cafe6b-2f2a-469b-85c4-eec3b9c972ba" providerId="ADAL" clId="{BCC88A69-F5B9-4FD7-A4CC-C0C69A3C6A8A}" dt="2021-08-15T10:18:47.922" v="638" actId="790"/>
          <ac:spMkLst>
            <pc:docMk/>
            <pc:sldMk cId="832613260" sldId="838"/>
            <ac:spMk id="54" creationId="{554E19A2-46A3-4727-A8F5-70EA72599EBC}"/>
          </ac:spMkLst>
        </pc:spChg>
        <pc:spChg chg="add mod">
          <ac:chgData name="Thomas Stensitzki" userId="75cafe6b-2f2a-469b-85c4-eec3b9c972ba" providerId="ADAL" clId="{BCC88A69-F5B9-4FD7-A4CC-C0C69A3C6A8A}" dt="2021-08-15T10:18:47.923" v="639" actId="790"/>
          <ac:spMkLst>
            <pc:docMk/>
            <pc:sldMk cId="832613260" sldId="838"/>
            <ac:spMk id="55" creationId="{256F7E7C-534C-439E-B57B-10C4005CEFD3}"/>
          </ac:spMkLst>
        </pc:spChg>
        <pc:spChg chg="add mod">
          <ac:chgData name="Thomas Stensitzki" userId="75cafe6b-2f2a-469b-85c4-eec3b9c972ba" providerId="ADAL" clId="{BCC88A69-F5B9-4FD7-A4CC-C0C69A3C6A8A}" dt="2021-08-15T10:18:47.923" v="640" actId="790"/>
          <ac:spMkLst>
            <pc:docMk/>
            <pc:sldMk cId="832613260" sldId="838"/>
            <ac:spMk id="57" creationId="{448B13ED-5960-4521-93EB-51916C820F07}"/>
          </ac:spMkLst>
        </pc:spChg>
        <pc:spChg chg="add mod">
          <ac:chgData name="Thomas Stensitzki" userId="75cafe6b-2f2a-469b-85c4-eec3b9c972ba" providerId="ADAL" clId="{BCC88A69-F5B9-4FD7-A4CC-C0C69A3C6A8A}" dt="2021-08-15T10:18:47.924" v="641" actId="790"/>
          <ac:spMkLst>
            <pc:docMk/>
            <pc:sldMk cId="832613260" sldId="838"/>
            <ac:spMk id="58" creationId="{D86EBC0D-63DF-4A1C-BBA7-73118D65265B}"/>
          </ac:spMkLst>
        </pc:spChg>
        <pc:spChg chg="add mod">
          <ac:chgData name="Thomas Stensitzki" userId="75cafe6b-2f2a-469b-85c4-eec3b9c972ba" providerId="ADAL" clId="{BCC88A69-F5B9-4FD7-A4CC-C0C69A3C6A8A}" dt="2021-08-15T10:18:47.925" v="642" actId="790"/>
          <ac:spMkLst>
            <pc:docMk/>
            <pc:sldMk cId="832613260" sldId="838"/>
            <ac:spMk id="59" creationId="{19E5093C-C99A-47F9-90E2-1BF3FD767B2D}"/>
          </ac:spMkLst>
        </pc:spChg>
        <pc:spChg chg="add mod">
          <ac:chgData name="Thomas Stensitzki" userId="75cafe6b-2f2a-469b-85c4-eec3b9c972ba" providerId="ADAL" clId="{BCC88A69-F5B9-4FD7-A4CC-C0C69A3C6A8A}" dt="2021-08-15T10:18:47.925" v="643" actId="790"/>
          <ac:spMkLst>
            <pc:docMk/>
            <pc:sldMk cId="832613260" sldId="838"/>
            <ac:spMk id="64" creationId="{A149E995-093A-4D87-A1CF-8891C551DA1F}"/>
          </ac:spMkLst>
        </pc:spChg>
        <pc:spChg chg="add mod">
          <ac:chgData name="Thomas Stensitzki" userId="75cafe6b-2f2a-469b-85c4-eec3b9c972ba" providerId="ADAL" clId="{BCC88A69-F5B9-4FD7-A4CC-C0C69A3C6A8A}" dt="2021-08-15T10:18:47.926" v="644" actId="790"/>
          <ac:spMkLst>
            <pc:docMk/>
            <pc:sldMk cId="832613260" sldId="838"/>
            <ac:spMk id="66" creationId="{461E16BE-6505-466F-9167-7E6DD9E827B7}"/>
          </ac:spMkLst>
        </pc:spChg>
        <pc:spChg chg="add mod">
          <ac:chgData name="Thomas Stensitzki" userId="75cafe6b-2f2a-469b-85c4-eec3b9c972ba" providerId="ADAL" clId="{BCC88A69-F5B9-4FD7-A4CC-C0C69A3C6A8A}" dt="2021-08-15T10:18:47.926" v="645" actId="790"/>
          <ac:spMkLst>
            <pc:docMk/>
            <pc:sldMk cId="832613260" sldId="838"/>
            <ac:spMk id="67" creationId="{E321BFE9-7191-450D-93F9-FFE5BEFACE90}"/>
          </ac:spMkLst>
        </pc:spChg>
        <pc:spChg chg="add mod">
          <ac:chgData name="Thomas Stensitzki" userId="75cafe6b-2f2a-469b-85c4-eec3b9c972ba" providerId="ADAL" clId="{BCC88A69-F5B9-4FD7-A4CC-C0C69A3C6A8A}" dt="2021-08-15T10:18:47.927" v="646" actId="790"/>
          <ac:spMkLst>
            <pc:docMk/>
            <pc:sldMk cId="832613260" sldId="838"/>
            <ac:spMk id="68" creationId="{811CFF84-E425-4927-BD67-7A43606B1B57}"/>
          </ac:spMkLst>
        </pc:spChg>
        <pc:spChg chg="add mod">
          <ac:chgData name="Thomas Stensitzki" userId="75cafe6b-2f2a-469b-85c4-eec3b9c972ba" providerId="ADAL" clId="{BCC88A69-F5B9-4FD7-A4CC-C0C69A3C6A8A}" dt="2021-08-15T10:18:47.927" v="647" actId="790"/>
          <ac:spMkLst>
            <pc:docMk/>
            <pc:sldMk cId="832613260" sldId="838"/>
            <ac:spMk id="70" creationId="{5324EE0D-4DFA-4121-9ED1-7317FEB48BB1}"/>
          </ac:spMkLst>
        </pc:spChg>
        <pc:spChg chg="add mod">
          <ac:chgData name="Thomas Stensitzki" userId="75cafe6b-2f2a-469b-85c4-eec3b9c972ba" providerId="ADAL" clId="{BCC88A69-F5B9-4FD7-A4CC-C0C69A3C6A8A}" dt="2021-08-15T10:18:47.928" v="648" actId="790"/>
          <ac:spMkLst>
            <pc:docMk/>
            <pc:sldMk cId="832613260" sldId="838"/>
            <ac:spMk id="72" creationId="{985483C5-8E14-4F06-BA0E-7AC350D973AC}"/>
          </ac:spMkLst>
        </pc:spChg>
        <pc:spChg chg="add mod">
          <ac:chgData name="Thomas Stensitzki" userId="75cafe6b-2f2a-469b-85c4-eec3b9c972ba" providerId="ADAL" clId="{BCC88A69-F5B9-4FD7-A4CC-C0C69A3C6A8A}" dt="2021-08-15T10:18:47.928" v="649"/>
          <ac:spMkLst>
            <pc:docMk/>
            <pc:sldMk cId="832613260" sldId="838"/>
            <ac:spMk id="73" creationId="{6EEFD9EA-7525-408A-AC71-8C10E1E38064}"/>
          </ac:spMkLst>
        </pc:spChg>
        <pc:spChg chg="add mod">
          <ac:chgData name="Thomas Stensitzki" userId="75cafe6b-2f2a-469b-85c4-eec3b9c972ba" providerId="ADAL" clId="{BCC88A69-F5B9-4FD7-A4CC-C0C69A3C6A8A}" dt="2021-08-15T10:18:47.929" v="650" actId="790"/>
          <ac:spMkLst>
            <pc:docMk/>
            <pc:sldMk cId="832613260" sldId="838"/>
            <ac:spMk id="74" creationId="{E4443D38-60D5-4578-AFD3-ED182E0691E7}"/>
          </ac:spMkLst>
        </pc:spChg>
        <pc:spChg chg="add mod">
          <ac:chgData name="Thomas Stensitzki" userId="75cafe6b-2f2a-469b-85c4-eec3b9c972ba" providerId="ADAL" clId="{BCC88A69-F5B9-4FD7-A4CC-C0C69A3C6A8A}" dt="2021-08-15T10:18:47.929" v="651"/>
          <ac:spMkLst>
            <pc:docMk/>
            <pc:sldMk cId="832613260" sldId="838"/>
            <ac:spMk id="75" creationId="{4BB07032-E540-415D-AD99-E22D4FBF516B}"/>
          </ac:spMkLst>
        </pc:sp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7" creationId="{51B5F301-C21D-49FB-9027-7BA5B99C0B9D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8" creationId="{0F64AF80-CE6D-418A-BD29-A70DDD32077A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9" creationId="{B9B05812-9230-4D31-B2F0-EA05197667D5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1" creationId="{6D98B89B-5C0E-42F1-B4B4-8A38F7939466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2" creationId="{BAE2AFD7-0D53-4B15-9017-ED1393987A09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3" creationId="{14213437-1E4E-4653-A809-C017EDFECFD3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5" creationId="{018CA169-AE7D-4FE4-9CFB-A6CA2FBC8928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7" creationId="{7D59A8F7-EB51-44F4-9FEB-64A57DD04502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19" creationId="{8FB3CFEA-CA9B-4C0B-8857-AF6F3700C877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21" creationId="{D31691B2-1DC6-47C4-8935-1419E0A83D2A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26" creationId="{C725266B-4780-489B-8726-CE8ED9790792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34" creationId="{75630C3F-23BB-411C-A070-A03ED1466165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37" creationId="{D798ECE0-222B-461E-8EBC-D37763ED0096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41" creationId="{55A52FFE-9223-4E13-B453-2A0539BAAD9C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42" creationId="{B6ED1EE8-8A72-4D6F-81A1-4AB3145CC81D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43" creationId="{99A5F943-4959-4787-A65D-C51640093662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44" creationId="{4DD971FA-095D-4977-83D6-9E3139F6C9B3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56" creationId="{3AF06C71-EC1C-4325-8214-9ABE9DD65F6F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0" creationId="{ECA21277-7D13-46A0-A7BF-4B51B7C1D0C2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1" creationId="{B5EE6E0E-FDD1-4B11-B569-371173315CE4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2" creationId="{9C7A48A0-AE20-4296-9063-0E24DDDA73E5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3" creationId="{EEB4A0CD-84F0-4F77-B46B-3B7A4BF5AEB1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5" creationId="{1532A32D-73C7-4D0B-AFBC-4642F99422C4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69" creationId="{2B3FB383-E61B-4E15-85F9-F9C4B9C219A7}"/>
          </ac:cxnSpMkLst>
        </pc:cxnChg>
        <pc:cxnChg chg="add mod">
          <ac:chgData name="Thomas Stensitzki" userId="75cafe6b-2f2a-469b-85c4-eec3b9c972ba" providerId="ADAL" clId="{BCC88A69-F5B9-4FD7-A4CC-C0C69A3C6A8A}" dt="2021-08-15T10:14:50.861" v="383" actId="1076"/>
          <ac:cxnSpMkLst>
            <pc:docMk/>
            <pc:sldMk cId="832613260" sldId="838"/>
            <ac:cxnSpMk id="71" creationId="{123C8CEC-A290-416E-9030-AF13C9F8050F}"/>
          </ac:cxnSpMkLst>
        </pc:cxnChg>
      </pc:sldChg>
      <pc:sldChg chg="addSp delSp modSp new mod modAnim chgLayout modNotes">
        <pc:chgData name="Thomas Stensitzki" userId="75cafe6b-2f2a-469b-85c4-eec3b9c972ba" providerId="ADAL" clId="{BCC88A69-F5B9-4FD7-A4CC-C0C69A3C6A8A}" dt="2021-08-17T08:30:00.373" v="7446" actId="478"/>
        <pc:sldMkLst>
          <pc:docMk/>
          <pc:sldMk cId="1433735040" sldId="839"/>
        </pc:sldMkLst>
        <pc:spChg chg="mod ord">
          <ac:chgData name="Thomas Stensitzki" userId="75cafe6b-2f2a-469b-85c4-eec3b9c972ba" providerId="ADAL" clId="{BCC88A69-F5B9-4FD7-A4CC-C0C69A3C6A8A}" dt="2021-08-17T08:29:57.515" v="7445" actId="700"/>
          <ac:spMkLst>
            <pc:docMk/>
            <pc:sldMk cId="1433735040" sldId="839"/>
            <ac:spMk id="2" creationId="{A739A8BB-717D-4714-B88F-828CFE419C53}"/>
          </ac:spMkLst>
        </pc:spChg>
        <pc:spChg chg="del mod">
          <ac:chgData name="Thomas Stensitzki" userId="75cafe6b-2f2a-469b-85c4-eec3b9c972ba" providerId="ADAL" clId="{BCC88A69-F5B9-4FD7-A4CC-C0C69A3C6A8A}" dt="2021-08-17T08:29:57.515" v="7445" actId="700"/>
          <ac:spMkLst>
            <pc:docMk/>
            <pc:sldMk cId="1433735040" sldId="839"/>
            <ac:spMk id="3" creationId="{B3247AB4-3E6C-49FD-8B11-343950D974F8}"/>
          </ac:spMkLst>
        </pc:spChg>
        <pc:spChg chg="del mod ord">
          <ac:chgData name="Thomas Stensitzki" userId="75cafe6b-2f2a-469b-85c4-eec3b9c972ba" providerId="ADAL" clId="{BCC88A69-F5B9-4FD7-A4CC-C0C69A3C6A8A}" dt="2021-08-17T08:30:00.373" v="7446" actId="478"/>
          <ac:spMkLst>
            <pc:docMk/>
            <pc:sldMk cId="1433735040" sldId="839"/>
            <ac:spMk id="4" creationId="{61978766-458B-4506-AC92-66452612FD59}"/>
          </ac:spMkLst>
        </pc:spChg>
        <pc:spChg chg="mod ord">
          <ac:chgData name="Thomas Stensitzki" userId="75cafe6b-2f2a-469b-85c4-eec3b9c972ba" providerId="ADAL" clId="{BCC88A69-F5B9-4FD7-A4CC-C0C69A3C6A8A}" dt="2021-08-17T08:29:57.515" v="7445" actId="700"/>
          <ac:spMkLst>
            <pc:docMk/>
            <pc:sldMk cId="1433735040" sldId="839"/>
            <ac:spMk id="5" creationId="{96C6A560-E5F5-43FE-8DAF-5EC01E85BFD4}"/>
          </ac:spMkLst>
        </pc:spChg>
        <pc:spChg chg="add mod">
          <ac:chgData name="Thomas Stensitzki" userId="75cafe6b-2f2a-469b-85c4-eec3b9c972ba" providerId="ADAL" clId="{BCC88A69-F5B9-4FD7-A4CC-C0C69A3C6A8A}" dt="2021-08-15T10:18:47.934" v="658" actId="790"/>
          <ac:spMkLst>
            <pc:docMk/>
            <pc:sldMk cId="1433735040" sldId="839"/>
            <ac:spMk id="6" creationId="{04D7B3A7-1353-405A-AC59-B6321D98400B}"/>
          </ac:spMkLst>
        </pc:spChg>
        <pc:spChg chg="add mod">
          <ac:chgData name="Thomas Stensitzki" userId="75cafe6b-2f2a-469b-85c4-eec3b9c972ba" providerId="ADAL" clId="{BCC88A69-F5B9-4FD7-A4CC-C0C69A3C6A8A}" dt="2021-08-15T10:18:47.935" v="659" actId="790"/>
          <ac:spMkLst>
            <pc:docMk/>
            <pc:sldMk cId="1433735040" sldId="839"/>
            <ac:spMk id="7" creationId="{DE054D88-3603-40E4-9549-6723191A98BF}"/>
          </ac:spMkLst>
        </pc:spChg>
        <pc:spChg chg="add mod">
          <ac:chgData name="Thomas Stensitzki" userId="75cafe6b-2f2a-469b-85c4-eec3b9c972ba" providerId="ADAL" clId="{BCC88A69-F5B9-4FD7-A4CC-C0C69A3C6A8A}" dt="2021-08-15T10:18:47.935" v="660" actId="790"/>
          <ac:spMkLst>
            <pc:docMk/>
            <pc:sldMk cId="1433735040" sldId="839"/>
            <ac:spMk id="8" creationId="{0B649E72-6B34-4D35-8D0A-AF328C785A2E}"/>
          </ac:spMkLst>
        </pc:spChg>
        <pc:spChg chg="add mod">
          <ac:chgData name="Thomas Stensitzki" userId="75cafe6b-2f2a-469b-85c4-eec3b9c972ba" providerId="ADAL" clId="{BCC88A69-F5B9-4FD7-A4CC-C0C69A3C6A8A}" dt="2021-08-15T10:18:47.936" v="661" actId="790"/>
          <ac:spMkLst>
            <pc:docMk/>
            <pc:sldMk cId="1433735040" sldId="839"/>
            <ac:spMk id="9" creationId="{77103311-4599-4D79-AAB7-E55DE960EC46}"/>
          </ac:spMkLst>
        </pc:spChg>
        <pc:spChg chg="add mod">
          <ac:chgData name="Thomas Stensitzki" userId="75cafe6b-2f2a-469b-85c4-eec3b9c972ba" providerId="ADAL" clId="{BCC88A69-F5B9-4FD7-A4CC-C0C69A3C6A8A}" dt="2021-08-15T10:18:47.937" v="662" actId="790"/>
          <ac:spMkLst>
            <pc:docMk/>
            <pc:sldMk cId="1433735040" sldId="839"/>
            <ac:spMk id="10" creationId="{D3CCF3F1-E914-4F58-94B7-156AF31807F2}"/>
          </ac:spMkLst>
        </pc:spChg>
        <pc:spChg chg="add mod">
          <ac:chgData name="Thomas Stensitzki" userId="75cafe6b-2f2a-469b-85c4-eec3b9c972ba" providerId="ADAL" clId="{BCC88A69-F5B9-4FD7-A4CC-C0C69A3C6A8A}" dt="2021-08-15T10:18:47.937" v="663" actId="790"/>
          <ac:spMkLst>
            <pc:docMk/>
            <pc:sldMk cId="1433735040" sldId="839"/>
            <ac:spMk id="11" creationId="{32B9C731-09EA-4078-978E-C40F9D93BA3E}"/>
          </ac:spMkLst>
        </pc:spChg>
        <pc:spChg chg="add mod">
          <ac:chgData name="Thomas Stensitzki" userId="75cafe6b-2f2a-469b-85c4-eec3b9c972ba" providerId="ADAL" clId="{BCC88A69-F5B9-4FD7-A4CC-C0C69A3C6A8A}" dt="2021-08-15T10:18:47.938" v="664" actId="790"/>
          <ac:spMkLst>
            <pc:docMk/>
            <pc:sldMk cId="1433735040" sldId="839"/>
            <ac:spMk id="12" creationId="{959B28BD-DFA4-422F-80CF-01F5215943ED}"/>
          </ac:spMkLst>
        </pc:spChg>
        <pc:spChg chg="add mod">
          <ac:chgData name="Thomas Stensitzki" userId="75cafe6b-2f2a-469b-85c4-eec3b9c972ba" providerId="ADAL" clId="{BCC88A69-F5B9-4FD7-A4CC-C0C69A3C6A8A}" dt="2021-08-15T10:18:47.938" v="665" actId="790"/>
          <ac:spMkLst>
            <pc:docMk/>
            <pc:sldMk cId="1433735040" sldId="839"/>
            <ac:spMk id="13" creationId="{EF318C82-6C32-46CC-8AE6-9B8C3D903FF4}"/>
          </ac:spMkLst>
        </pc:spChg>
        <pc:spChg chg="add mod">
          <ac:chgData name="Thomas Stensitzki" userId="75cafe6b-2f2a-469b-85c4-eec3b9c972ba" providerId="ADAL" clId="{BCC88A69-F5B9-4FD7-A4CC-C0C69A3C6A8A}" dt="2021-08-15T10:18:47.939" v="666" actId="790"/>
          <ac:spMkLst>
            <pc:docMk/>
            <pc:sldMk cId="1433735040" sldId="839"/>
            <ac:spMk id="16" creationId="{51EABEE4-4848-4408-9185-2D42C59DE55D}"/>
          </ac:spMkLst>
        </pc:spChg>
        <pc:spChg chg="add mod">
          <ac:chgData name="Thomas Stensitzki" userId="75cafe6b-2f2a-469b-85c4-eec3b9c972ba" providerId="ADAL" clId="{BCC88A69-F5B9-4FD7-A4CC-C0C69A3C6A8A}" dt="2021-08-15T10:18:47.940" v="667"/>
          <ac:spMkLst>
            <pc:docMk/>
            <pc:sldMk cId="1433735040" sldId="839"/>
            <ac:spMk id="25" creationId="{8853EFFA-C7D1-4ED7-8B07-880B6919DB12}"/>
          </ac:spMkLst>
        </pc:spChg>
        <pc:spChg chg="add mod">
          <ac:chgData name="Thomas Stensitzki" userId="75cafe6b-2f2a-469b-85c4-eec3b9c972ba" providerId="ADAL" clId="{BCC88A69-F5B9-4FD7-A4CC-C0C69A3C6A8A}" dt="2021-08-15T10:18:47.940" v="668"/>
          <ac:spMkLst>
            <pc:docMk/>
            <pc:sldMk cId="1433735040" sldId="839"/>
            <ac:spMk id="26" creationId="{B5EFAC45-6FF9-4496-8A0F-16CBDDA2E03C}"/>
          </ac:spMkLst>
        </pc:spChg>
        <pc:spChg chg="add mod">
          <ac:chgData name="Thomas Stensitzki" userId="75cafe6b-2f2a-469b-85c4-eec3b9c972ba" providerId="ADAL" clId="{BCC88A69-F5B9-4FD7-A4CC-C0C69A3C6A8A}" dt="2021-08-15T10:18:47.941" v="669"/>
          <ac:spMkLst>
            <pc:docMk/>
            <pc:sldMk cId="1433735040" sldId="839"/>
            <ac:spMk id="27" creationId="{80305ECE-DC11-4966-A383-B2CEFE0CBC18}"/>
          </ac:spMkLst>
        </pc:spChg>
        <pc:spChg chg="add mod">
          <ac:chgData name="Thomas Stensitzki" userId="75cafe6b-2f2a-469b-85c4-eec3b9c972ba" providerId="ADAL" clId="{BCC88A69-F5B9-4FD7-A4CC-C0C69A3C6A8A}" dt="2021-08-15T10:18:47.941" v="670"/>
          <ac:spMkLst>
            <pc:docMk/>
            <pc:sldMk cId="1433735040" sldId="839"/>
            <ac:spMk id="28" creationId="{087C8C0A-56E5-4F67-9870-C510F5E48974}"/>
          </ac:spMkLst>
        </pc:spChg>
        <pc:spChg chg="add mod ord">
          <ac:chgData name="Thomas Stensitzki" userId="75cafe6b-2f2a-469b-85c4-eec3b9c972ba" providerId="ADAL" clId="{BCC88A69-F5B9-4FD7-A4CC-C0C69A3C6A8A}" dt="2021-08-17T08:29:57.515" v="7445" actId="700"/>
          <ac:spMkLst>
            <pc:docMk/>
            <pc:sldMk cId="1433735040" sldId="839"/>
            <ac:spMk id="33" creationId="{2464A7F2-C88B-4819-9D2A-F6D5D440F331}"/>
          </ac:spMkLst>
        </pc:sp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19" creationId="{41008961-D61D-4F2A-9680-9C237A4F9CCB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20" creationId="{7166C4AE-CAFB-4157-815C-99838931C4BC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21" creationId="{40156B6D-3B34-410B-8580-3073E46EE3F4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29" creationId="{D5D54EDE-6414-408E-9D06-B2AAD6498958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30" creationId="{104C7EB5-9170-450F-8B41-83C827F8A869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31" creationId="{6BC85594-45BD-413D-B346-ACB58E75C7FB}"/>
          </ac:picMkLst>
        </pc:picChg>
        <pc:picChg chg="add mod">
          <ac:chgData name="Thomas Stensitzki" userId="75cafe6b-2f2a-469b-85c4-eec3b9c972ba" providerId="ADAL" clId="{BCC88A69-F5B9-4FD7-A4CC-C0C69A3C6A8A}" dt="2021-08-15T10:15:26.719" v="420"/>
          <ac:picMkLst>
            <pc:docMk/>
            <pc:sldMk cId="1433735040" sldId="839"/>
            <ac:picMk id="32" creationId="{B97B023F-7505-4100-9303-5D25E0C7BFC7}"/>
          </ac:picMkLst>
        </pc:pic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14" creationId="{83E02432-8F6D-4985-BEDF-054BB16A2210}"/>
          </ac:cxnSpMkLst>
        </pc:cxn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15" creationId="{65F641A2-39A4-44A4-A65D-B7124843DF40}"/>
          </ac:cxnSpMkLst>
        </pc:cxn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17" creationId="{162ABCE5-42A3-45DB-8A1C-031059C85DE5}"/>
          </ac:cxnSpMkLst>
        </pc:cxn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18" creationId="{7934EAB4-BB64-4BC8-9DC1-1B93F0578A7D}"/>
          </ac:cxnSpMkLst>
        </pc:cxn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22" creationId="{61B81AEF-2600-41D6-B46A-815B01A5F754}"/>
          </ac:cxnSpMkLst>
        </pc:cxnChg>
        <pc:cxnChg chg="add mod">
          <ac:chgData name="Thomas Stensitzki" userId="75cafe6b-2f2a-469b-85c4-eec3b9c972ba" providerId="ADAL" clId="{BCC88A69-F5B9-4FD7-A4CC-C0C69A3C6A8A}" dt="2021-08-15T10:15:26.719" v="420"/>
          <ac:cxnSpMkLst>
            <pc:docMk/>
            <pc:sldMk cId="1433735040" sldId="839"/>
            <ac:cxnSpMk id="23" creationId="{6FAA8589-E441-4417-B54F-2009B2A4800A}"/>
          </ac:cxnSpMkLst>
        </pc:cxnChg>
        <pc:cxnChg chg="add mod">
          <ac:chgData name="Thomas Stensitzki" userId="75cafe6b-2f2a-469b-85c4-eec3b9c972ba" providerId="ADAL" clId="{BCC88A69-F5B9-4FD7-A4CC-C0C69A3C6A8A}" dt="2021-08-15T10:16:05.505" v="434" actId="208"/>
          <ac:cxnSpMkLst>
            <pc:docMk/>
            <pc:sldMk cId="1433735040" sldId="839"/>
            <ac:cxnSpMk id="24" creationId="{6AB30A90-0963-4005-8054-996BC5DDB577}"/>
          </ac:cxnSpMkLst>
        </pc:cxnChg>
      </pc:sldChg>
      <pc:sldChg chg="modSp add del mod ord modNotes">
        <pc:chgData name="Thomas Stensitzki" userId="75cafe6b-2f2a-469b-85c4-eec3b9c972ba" providerId="ADAL" clId="{BCC88A69-F5B9-4FD7-A4CC-C0C69A3C6A8A}" dt="2021-08-21T09:40:37.051" v="7687" actId="47"/>
        <pc:sldMkLst>
          <pc:docMk/>
          <pc:sldMk cId="1687512228" sldId="840"/>
        </pc:sldMkLst>
        <pc:spChg chg="mod">
          <ac:chgData name="Thomas Stensitzki" userId="75cafe6b-2f2a-469b-85c4-eec3b9c972ba" providerId="ADAL" clId="{BCC88A69-F5B9-4FD7-A4CC-C0C69A3C6A8A}" dt="2021-08-15T10:18:47.958" v="686" actId="790"/>
          <ac:spMkLst>
            <pc:docMk/>
            <pc:sldMk cId="1687512228" sldId="840"/>
            <ac:spMk id="2" creationId="{8F5F6780-642A-42ED-AB56-D47FDB5B2199}"/>
          </ac:spMkLst>
        </pc:spChg>
        <pc:spChg chg="mod">
          <ac:chgData name="Thomas Stensitzki" userId="75cafe6b-2f2a-469b-85c4-eec3b9c972ba" providerId="ADAL" clId="{BCC88A69-F5B9-4FD7-A4CC-C0C69A3C6A8A}" dt="2021-08-15T10:18:47.958" v="687" actId="790"/>
          <ac:spMkLst>
            <pc:docMk/>
            <pc:sldMk cId="1687512228" sldId="840"/>
            <ac:spMk id="4" creationId="{7B3574BB-9A1A-45C2-8B6D-609C2D276C1A}"/>
          </ac:spMkLst>
        </pc:spChg>
        <pc:spChg chg="mod">
          <ac:chgData name="Thomas Stensitzki" userId="75cafe6b-2f2a-469b-85c4-eec3b9c972ba" providerId="ADAL" clId="{BCC88A69-F5B9-4FD7-A4CC-C0C69A3C6A8A}" dt="2021-08-17T13:50:21.925" v="7660" actId="255"/>
          <ac:spMkLst>
            <pc:docMk/>
            <pc:sldMk cId="1687512228" sldId="840"/>
            <ac:spMk id="10" creationId="{415734D9-F780-4CC2-9DF6-005293538FEE}"/>
          </ac:spMkLst>
        </pc:spChg>
      </pc:sldChg>
      <pc:sldChg chg="addSp delSp modSp new mod modClrScheme modAnim chgLayout modNotes">
        <pc:chgData name="Thomas Stensitzki" userId="75cafe6b-2f2a-469b-85c4-eec3b9c972ba" providerId="ADAL" clId="{BCC88A69-F5B9-4FD7-A4CC-C0C69A3C6A8A}" dt="2021-08-17T08:31:45.101" v="7457"/>
        <pc:sldMkLst>
          <pc:docMk/>
          <pc:sldMk cId="1562219014" sldId="841"/>
        </pc:sldMkLst>
        <pc:spChg chg="del mod ord">
          <ac:chgData name="Thomas Stensitzki" userId="75cafe6b-2f2a-469b-85c4-eec3b9c972ba" providerId="ADAL" clId="{BCC88A69-F5B9-4FD7-A4CC-C0C69A3C6A8A}" dt="2021-08-15T10:17:19.098" v="453" actId="700"/>
          <ac:spMkLst>
            <pc:docMk/>
            <pc:sldMk cId="1562219014" sldId="841"/>
            <ac:spMk id="2" creationId="{6388C919-ECB3-466F-AAA1-DD144EEBD053}"/>
          </ac:spMkLst>
        </pc:spChg>
        <pc:spChg chg="del mod ord">
          <ac:chgData name="Thomas Stensitzki" userId="75cafe6b-2f2a-469b-85c4-eec3b9c972ba" providerId="ADAL" clId="{BCC88A69-F5B9-4FD7-A4CC-C0C69A3C6A8A}" dt="2021-08-15T10:17:19.098" v="453" actId="700"/>
          <ac:spMkLst>
            <pc:docMk/>
            <pc:sldMk cId="1562219014" sldId="841"/>
            <ac:spMk id="3" creationId="{0EDBEF82-259B-44B7-A49A-91DD59A30CE0}"/>
          </ac:spMkLst>
        </pc:spChg>
        <pc:spChg chg="del mod ord">
          <ac:chgData name="Thomas Stensitzki" userId="75cafe6b-2f2a-469b-85c4-eec3b9c972ba" providerId="ADAL" clId="{BCC88A69-F5B9-4FD7-A4CC-C0C69A3C6A8A}" dt="2021-08-17T08:30:03.367" v="7447" actId="478"/>
          <ac:spMkLst>
            <pc:docMk/>
            <pc:sldMk cId="1562219014" sldId="841"/>
            <ac:spMk id="4" creationId="{C7B7B22C-940E-4D7F-8B21-CEFE8F57E051}"/>
          </ac:spMkLst>
        </pc:spChg>
        <pc:spChg chg="mod ord">
          <ac:chgData name="Thomas Stensitzki" userId="75cafe6b-2f2a-469b-85c4-eec3b9c972ba" providerId="ADAL" clId="{BCC88A69-F5B9-4FD7-A4CC-C0C69A3C6A8A}" dt="2021-08-15T10:18:47.945" v="675" actId="790"/>
          <ac:spMkLst>
            <pc:docMk/>
            <pc:sldMk cId="1562219014" sldId="841"/>
            <ac:spMk id="5" creationId="{69E230A0-FF65-4845-A2F7-C51017EC0DAA}"/>
          </ac:spMkLst>
        </pc:spChg>
        <pc:spChg chg="add mod ord">
          <ac:chgData name="Thomas Stensitzki" userId="75cafe6b-2f2a-469b-85c4-eec3b9c972ba" providerId="ADAL" clId="{BCC88A69-F5B9-4FD7-A4CC-C0C69A3C6A8A}" dt="2021-08-15T10:18:47.944" v="673" actId="790"/>
          <ac:spMkLst>
            <pc:docMk/>
            <pc:sldMk cId="1562219014" sldId="841"/>
            <ac:spMk id="6" creationId="{CB21E7FE-5169-4D7D-A3F1-EFEDF6F972A9}"/>
          </ac:spMkLst>
        </pc:spChg>
        <pc:spChg chg="add mod ord">
          <ac:chgData name="Thomas Stensitzki" userId="75cafe6b-2f2a-469b-85c4-eec3b9c972ba" providerId="ADAL" clId="{BCC88A69-F5B9-4FD7-A4CC-C0C69A3C6A8A}" dt="2021-08-15T10:25:51.802" v="906" actId="313"/>
          <ac:spMkLst>
            <pc:docMk/>
            <pc:sldMk cId="1562219014" sldId="841"/>
            <ac:spMk id="7" creationId="{299A1E60-7B25-43F2-9023-DA876F82C634}"/>
          </ac:spMkLst>
        </pc:spChg>
        <pc:spChg chg="add mod ord">
          <ac:chgData name="Thomas Stensitzki" userId="75cafe6b-2f2a-469b-85c4-eec3b9c972ba" providerId="ADAL" clId="{BCC88A69-F5B9-4FD7-A4CC-C0C69A3C6A8A}" dt="2021-08-15T10:18:47.945" v="674" actId="790"/>
          <ac:spMkLst>
            <pc:docMk/>
            <pc:sldMk cId="1562219014" sldId="841"/>
            <ac:spMk id="8" creationId="{8E6FBB5F-11F8-4438-99D2-572C409DE5C7}"/>
          </ac:spMkLst>
        </pc:spChg>
      </pc:sldChg>
      <pc:sldChg chg="modSp new mod">
        <pc:chgData name="Thomas Stensitzki" userId="75cafe6b-2f2a-469b-85c4-eec3b9c972ba" providerId="ADAL" clId="{BCC88A69-F5B9-4FD7-A4CC-C0C69A3C6A8A}" dt="2021-08-15T11:47:10.553" v="3705" actId="20577"/>
        <pc:sldMkLst>
          <pc:docMk/>
          <pc:sldMk cId="4080584048" sldId="842"/>
        </pc:sldMkLst>
        <pc:spChg chg="mod">
          <ac:chgData name="Thomas Stensitzki" userId="75cafe6b-2f2a-469b-85c4-eec3b9c972ba" providerId="ADAL" clId="{BCC88A69-F5B9-4FD7-A4CC-C0C69A3C6A8A}" dt="2021-08-15T10:22:48.241" v="884" actId="20577"/>
          <ac:spMkLst>
            <pc:docMk/>
            <pc:sldMk cId="4080584048" sldId="842"/>
            <ac:spMk id="2" creationId="{046C46C0-AC8C-4065-8039-78595531C094}"/>
          </ac:spMkLst>
        </pc:spChg>
        <pc:spChg chg="mod">
          <ac:chgData name="Thomas Stensitzki" userId="75cafe6b-2f2a-469b-85c4-eec3b9c972ba" providerId="ADAL" clId="{BCC88A69-F5B9-4FD7-A4CC-C0C69A3C6A8A}" dt="2021-08-15T11:47:10.553" v="3705" actId="20577"/>
          <ac:spMkLst>
            <pc:docMk/>
            <pc:sldMk cId="4080584048" sldId="842"/>
            <ac:spMk id="5" creationId="{448A9921-AEF0-41FA-840C-0F1E5FB37983}"/>
          </ac:spMkLst>
        </pc:spChg>
      </pc:sldChg>
      <pc:sldChg chg="addSp delSp modSp add mod modAnim">
        <pc:chgData name="Thomas Stensitzki" userId="75cafe6b-2f2a-469b-85c4-eec3b9c972ba" providerId="ADAL" clId="{BCC88A69-F5B9-4FD7-A4CC-C0C69A3C6A8A}" dt="2021-08-17T08:32:20.154" v="7460"/>
        <pc:sldMkLst>
          <pc:docMk/>
          <pc:sldMk cId="417683093" sldId="843"/>
        </pc:sldMkLst>
        <pc:spChg chg="add del">
          <ac:chgData name="Thomas Stensitzki" userId="75cafe6b-2f2a-469b-85c4-eec3b9c972ba" providerId="ADAL" clId="{BCC88A69-F5B9-4FD7-A4CC-C0C69A3C6A8A}" dt="2021-08-15T10:30:50.814" v="1413"/>
          <ac:spMkLst>
            <pc:docMk/>
            <pc:sldMk cId="417683093" sldId="843"/>
            <ac:spMk id="2" creationId="{0CEB1983-12BD-40A5-BC03-3AB939DDF37B}"/>
          </ac:spMkLst>
        </pc:spChg>
        <pc:spChg chg="del">
          <ac:chgData name="Thomas Stensitzki" userId="75cafe6b-2f2a-469b-85c4-eec3b9c972ba" providerId="ADAL" clId="{BCC88A69-F5B9-4FD7-A4CC-C0C69A3C6A8A}" dt="2021-08-17T08:32:15.403" v="7459" actId="478"/>
          <ac:spMkLst>
            <pc:docMk/>
            <pc:sldMk cId="417683093" sldId="843"/>
            <ac:spMk id="4" creationId="{C7B7B22C-940E-4D7F-8B21-CEFE8F57E051}"/>
          </ac:spMkLst>
        </pc:spChg>
        <pc:spChg chg="mod">
          <ac:chgData name="Thomas Stensitzki" userId="75cafe6b-2f2a-469b-85c4-eec3b9c972ba" providerId="ADAL" clId="{BCC88A69-F5B9-4FD7-A4CC-C0C69A3C6A8A}" dt="2021-08-15T10:26:38.967" v="917" actId="20577"/>
          <ac:spMkLst>
            <pc:docMk/>
            <pc:sldMk cId="417683093" sldId="843"/>
            <ac:spMk id="6" creationId="{CB21E7FE-5169-4D7D-A3F1-EFEDF6F972A9}"/>
          </ac:spMkLst>
        </pc:spChg>
        <pc:spChg chg="mod">
          <ac:chgData name="Thomas Stensitzki" userId="75cafe6b-2f2a-469b-85c4-eec3b9c972ba" providerId="ADAL" clId="{BCC88A69-F5B9-4FD7-A4CC-C0C69A3C6A8A}" dt="2021-08-15T10:30:55.175" v="1414" actId="114"/>
          <ac:spMkLst>
            <pc:docMk/>
            <pc:sldMk cId="417683093" sldId="843"/>
            <ac:spMk id="7" creationId="{299A1E60-7B25-43F2-9023-DA876F82C634}"/>
          </ac:spMkLst>
        </pc:spChg>
        <pc:spChg chg="mod">
          <ac:chgData name="Thomas Stensitzki" userId="75cafe6b-2f2a-469b-85c4-eec3b9c972ba" providerId="ADAL" clId="{BCC88A69-F5B9-4FD7-A4CC-C0C69A3C6A8A}" dt="2021-08-15T10:35:09.699" v="1440" actId="6549"/>
          <ac:spMkLst>
            <pc:docMk/>
            <pc:sldMk cId="417683093" sldId="843"/>
            <ac:spMk id="8" creationId="{8E6FBB5F-11F8-4438-99D2-572C409DE5C7}"/>
          </ac:spMkLst>
        </pc:spChg>
      </pc:sldChg>
      <pc:sldChg chg="new del">
        <pc:chgData name="Thomas Stensitzki" userId="75cafe6b-2f2a-469b-85c4-eec3b9c972ba" providerId="ADAL" clId="{BCC88A69-F5B9-4FD7-A4CC-C0C69A3C6A8A}" dt="2021-08-15T10:26:15.743" v="908" actId="47"/>
        <pc:sldMkLst>
          <pc:docMk/>
          <pc:sldMk cId="1064025484" sldId="843"/>
        </pc:sldMkLst>
      </pc:sldChg>
      <pc:sldChg chg="addSp delSp modSp add mod modAnim">
        <pc:chgData name="Thomas Stensitzki" userId="75cafe6b-2f2a-469b-85c4-eec3b9c972ba" providerId="ADAL" clId="{BCC88A69-F5B9-4FD7-A4CC-C0C69A3C6A8A}" dt="2021-08-17T08:33:09.417" v="7464"/>
        <pc:sldMkLst>
          <pc:docMk/>
          <pc:sldMk cId="2909041430" sldId="844"/>
        </pc:sldMkLst>
        <pc:spChg chg="add del">
          <ac:chgData name="Thomas Stensitzki" userId="75cafe6b-2f2a-469b-85c4-eec3b9c972ba" providerId="ADAL" clId="{BCC88A69-F5B9-4FD7-A4CC-C0C69A3C6A8A}" dt="2021-08-17T08:30:40.464" v="7452" actId="478"/>
          <ac:spMkLst>
            <pc:docMk/>
            <pc:sldMk cId="2909041430" sldId="844"/>
            <ac:spMk id="4" creationId="{C7B7B22C-940E-4D7F-8B21-CEFE8F57E051}"/>
          </ac:spMkLst>
        </pc:spChg>
        <pc:spChg chg="mod">
          <ac:chgData name="Thomas Stensitzki" userId="75cafe6b-2f2a-469b-85c4-eec3b9c972ba" providerId="ADAL" clId="{BCC88A69-F5B9-4FD7-A4CC-C0C69A3C6A8A}" dt="2021-08-15T10:38:52.135" v="1736" actId="20577"/>
          <ac:spMkLst>
            <pc:docMk/>
            <pc:sldMk cId="2909041430" sldId="844"/>
            <ac:spMk id="7" creationId="{299A1E60-7B25-43F2-9023-DA876F82C634}"/>
          </ac:spMkLst>
        </pc:spChg>
        <pc:spChg chg="mod">
          <ac:chgData name="Thomas Stensitzki" userId="75cafe6b-2f2a-469b-85c4-eec3b9c972ba" providerId="ADAL" clId="{BCC88A69-F5B9-4FD7-A4CC-C0C69A3C6A8A}" dt="2021-08-15T10:35:06.047" v="1438" actId="6549"/>
          <ac:spMkLst>
            <pc:docMk/>
            <pc:sldMk cId="2909041430" sldId="844"/>
            <ac:spMk id="8" creationId="{8E6FBB5F-11F8-4438-99D2-572C409DE5C7}"/>
          </ac:spMkLst>
        </pc:spChg>
      </pc:sldChg>
      <pc:sldChg chg="addSp delSp modSp new mod modClrScheme modAnim chgLayout modNotesTx">
        <pc:chgData name="Thomas Stensitzki" userId="75cafe6b-2f2a-469b-85c4-eec3b9c972ba" providerId="ADAL" clId="{BCC88A69-F5B9-4FD7-A4CC-C0C69A3C6A8A}" dt="2021-08-15T10:41:45.252" v="1783"/>
        <pc:sldMkLst>
          <pc:docMk/>
          <pc:sldMk cId="73535746" sldId="845"/>
        </pc:sldMkLst>
        <pc:spChg chg="del mod ord">
          <ac:chgData name="Thomas Stensitzki" userId="75cafe6b-2f2a-469b-85c4-eec3b9c972ba" providerId="ADAL" clId="{BCC88A69-F5B9-4FD7-A4CC-C0C69A3C6A8A}" dt="2021-08-15T10:39:04.096" v="1738" actId="700"/>
          <ac:spMkLst>
            <pc:docMk/>
            <pc:sldMk cId="73535746" sldId="845"/>
            <ac:spMk id="2" creationId="{1E45A3D9-A27B-426C-A65B-8D6153E8CD7F}"/>
          </ac:spMkLst>
        </pc:spChg>
        <pc:spChg chg="del mod ord">
          <ac:chgData name="Thomas Stensitzki" userId="75cafe6b-2f2a-469b-85c4-eec3b9c972ba" providerId="ADAL" clId="{BCC88A69-F5B9-4FD7-A4CC-C0C69A3C6A8A}" dt="2021-08-15T10:39:04.096" v="1738" actId="700"/>
          <ac:spMkLst>
            <pc:docMk/>
            <pc:sldMk cId="73535746" sldId="845"/>
            <ac:spMk id="3" creationId="{8FD3850E-D8C5-4678-A619-C169B745205F}"/>
          </ac:spMkLst>
        </pc:spChg>
        <pc:spChg chg="mod ord">
          <ac:chgData name="Thomas Stensitzki" userId="75cafe6b-2f2a-469b-85c4-eec3b9c972ba" providerId="ADAL" clId="{BCC88A69-F5B9-4FD7-A4CC-C0C69A3C6A8A}" dt="2021-08-15T10:39:04.096" v="1738" actId="700"/>
          <ac:spMkLst>
            <pc:docMk/>
            <pc:sldMk cId="73535746" sldId="845"/>
            <ac:spMk id="4" creationId="{D42B05FA-8E10-49C0-9353-E204150EE0C9}"/>
          </ac:spMkLst>
        </pc:spChg>
        <pc:spChg chg="del">
          <ac:chgData name="Thomas Stensitzki" userId="75cafe6b-2f2a-469b-85c4-eec3b9c972ba" providerId="ADAL" clId="{BCC88A69-F5B9-4FD7-A4CC-C0C69A3C6A8A}" dt="2021-08-15T10:39:04.096" v="1738" actId="700"/>
          <ac:spMkLst>
            <pc:docMk/>
            <pc:sldMk cId="73535746" sldId="845"/>
            <ac:spMk id="5" creationId="{C9FAC207-F5B6-4661-9DDA-00950E2C4F99}"/>
          </ac:spMkLst>
        </pc:spChg>
        <pc:spChg chg="add mod ord">
          <ac:chgData name="Thomas Stensitzki" userId="75cafe6b-2f2a-469b-85c4-eec3b9c972ba" providerId="ADAL" clId="{BCC88A69-F5B9-4FD7-A4CC-C0C69A3C6A8A}" dt="2021-08-15T10:39:21.740" v="1759" actId="20577"/>
          <ac:spMkLst>
            <pc:docMk/>
            <pc:sldMk cId="73535746" sldId="845"/>
            <ac:spMk id="6" creationId="{4B907B3B-D8AB-4C22-949D-29A3332E10FE}"/>
          </ac:spMkLst>
        </pc:spChg>
        <pc:spChg chg="add mod ord">
          <ac:chgData name="Thomas Stensitzki" userId="75cafe6b-2f2a-469b-85c4-eec3b9c972ba" providerId="ADAL" clId="{BCC88A69-F5B9-4FD7-A4CC-C0C69A3C6A8A}" dt="2021-08-15T10:39:04.096" v="1738" actId="700"/>
          <ac:spMkLst>
            <pc:docMk/>
            <pc:sldMk cId="73535746" sldId="845"/>
            <ac:spMk id="7" creationId="{711BCE9F-58C8-42F8-936E-D6FC68B57AED}"/>
          </ac:spMkLst>
        </pc:spChg>
        <pc:spChg chg="add mod">
          <ac:chgData name="Thomas Stensitzki" userId="75cafe6b-2f2a-469b-85c4-eec3b9c972ba" providerId="ADAL" clId="{BCC88A69-F5B9-4FD7-A4CC-C0C69A3C6A8A}" dt="2021-08-15T10:40:26.719" v="1767"/>
          <ac:spMkLst>
            <pc:docMk/>
            <pc:sldMk cId="73535746" sldId="845"/>
            <ac:spMk id="10" creationId="{CAA7BC5D-4754-4B0D-AFAE-D4F0E9BDA9EB}"/>
          </ac:spMkLst>
        </pc:spChg>
        <pc:spChg chg="add mod">
          <ac:chgData name="Thomas Stensitzki" userId="75cafe6b-2f2a-469b-85c4-eec3b9c972ba" providerId="ADAL" clId="{BCC88A69-F5B9-4FD7-A4CC-C0C69A3C6A8A}" dt="2021-08-15T10:41:17.347" v="1778" actId="1037"/>
          <ac:spMkLst>
            <pc:docMk/>
            <pc:sldMk cId="73535746" sldId="845"/>
            <ac:spMk id="12" creationId="{843B7784-AF4C-4FEC-95AA-583A87450460}"/>
          </ac:spMkLst>
        </pc:spChg>
        <pc:picChg chg="add mod">
          <ac:chgData name="Thomas Stensitzki" userId="75cafe6b-2f2a-469b-85c4-eec3b9c972ba" providerId="ADAL" clId="{BCC88A69-F5B9-4FD7-A4CC-C0C69A3C6A8A}" dt="2021-08-15T10:40:26.719" v="1767"/>
          <ac:picMkLst>
            <pc:docMk/>
            <pc:sldMk cId="73535746" sldId="845"/>
            <ac:picMk id="8" creationId="{BF4E8D13-F6A0-4DB8-A14E-9C4B8FFF8D5C}"/>
          </ac:picMkLst>
        </pc:picChg>
        <pc:picChg chg="add mod">
          <ac:chgData name="Thomas Stensitzki" userId="75cafe6b-2f2a-469b-85c4-eec3b9c972ba" providerId="ADAL" clId="{BCC88A69-F5B9-4FD7-A4CC-C0C69A3C6A8A}" dt="2021-08-15T10:40:26.719" v="1767"/>
          <ac:picMkLst>
            <pc:docMk/>
            <pc:sldMk cId="73535746" sldId="845"/>
            <ac:picMk id="9" creationId="{546F941A-C759-4141-B5D1-6DE647E4DD73}"/>
          </ac:picMkLst>
        </pc:picChg>
        <pc:picChg chg="add mod">
          <ac:chgData name="Thomas Stensitzki" userId="75cafe6b-2f2a-469b-85c4-eec3b9c972ba" providerId="ADAL" clId="{BCC88A69-F5B9-4FD7-A4CC-C0C69A3C6A8A}" dt="2021-08-15T10:40:26.719" v="1767"/>
          <ac:picMkLst>
            <pc:docMk/>
            <pc:sldMk cId="73535746" sldId="845"/>
            <ac:picMk id="11" creationId="{4CE9EE7E-78DE-47F6-97CB-0A245402D295}"/>
          </ac:picMkLst>
        </pc:picChg>
      </pc:sldChg>
      <pc:sldChg chg="delSp modSp add mod ord modAnim">
        <pc:chgData name="Thomas Stensitzki" userId="75cafe6b-2f2a-469b-85c4-eec3b9c972ba" providerId="ADAL" clId="{BCC88A69-F5B9-4FD7-A4CC-C0C69A3C6A8A}" dt="2021-08-17T08:34:09.476" v="7468"/>
        <pc:sldMkLst>
          <pc:docMk/>
          <pc:sldMk cId="1499336587" sldId="846"/>
        </pc:sldMkLst>
        <pc:spChg chg="del">
          <ac:chgData name="Thomas Stensitzki" userId="75cafe6b-2f2a-469b-85c4-eec3b9c972ba" providerId="ADAL" clId="{BCC88A69-F5B9-4FD7-A4CC-C0C69A3C6A8A}" dt="2021-08-17T08:34:02.487" v="7467" actId="478"/>
          <ac:spMkLst>
            <pc:docMk/>
            <pc:sldMk cId="1499336587" sldId="846"/>
            <ac:spMk id="4" creationId="{C7B7B22C-940E-4D7F-8B21-CEFE8F57E051}"/>
          </ac:spMkLst>
        </pc:spChg>
        <pc:spChg chg="mod">
          <ac:chgData name="Thomas Stensitzki" userId="75cafe6b-2f2a-469b-85c4-eec3b9c972ba" providerId="ADAL" clId="{BCC88A69-F5B9-4FD7-A4CC-C0C69A3C6A8A}" dt="2021-08-15T10:50:11.579" v="2176" actId="20577"/>
          <ac:spMkLst>
            <pc:docMk/>
            <pc:sldMk cId="1499336587" sldId="846"/>
            <ac:spMk id="7" creationId="{299A1E60-7B25-43F2-9023-DA876F82C634}"/>
          </ac:spMkLst>
        </pc:spChg>
      </pc:sldChg>
      <pc:sldChg chg="addSp delSp modSp new mod modClrScheme modAnim chgLayout">
        <pc:chgData name="Thomas Stensitzki" userId="75cafe6b-2f2a-469b-85c4-eec3b9c972ba" providerId="ADAL" clId="{BCC88A69-F5B9-4FD7-A4CC-C0C69A3C6A8A}" dt="2021-08-15T10:56:20.494" v="2183" actId="1076"/>
        <pc:sldMkLst>
          <pc:docMk/>
          <pc:sldMk cId="4218501631" sldId="847"/>
        </pc:sldMkLst>
        <pc:spChg chg="del mod ord">
          <ac:chgData name="Thomas Stensitzki" userId="75cafe6b-2f2a-469b-85c4-eec3b9c972ba" providerId="ADAL" clId="{BCC88A69-F5B9-4FD7-A4CC-C0C69A3C6A8A}" dt="2021-08-15T10:52:18.667" v="2178" actId="700"/>
          <ac:spMkLst>
            <pc:docMk/>
            <pc:sldMk cId="4218501631" sldId="847"/>
            <ac:spMk id="2" creationId="{E78E18A0-FB1E-4D59-9793-8340524E32C9}"/>
          </ac:spMkLst>
        </pc:spChg>
        <pc:spChg chg="del mod ord">
          <ac:chgData name="Thomas Stensitzki" userId="75cafe6b-2f2a-469b-85c4-eec3b9c972ba" providerId="ADAL" clId="{BCC88A69-F5B9-4FD7-A4CC-C0C69A3C6A8A}" dt="2021-08-15T10:52:18.667" v="2178" actId="700"/>
          <ac:spMkLst>
            <pc:docMk/>
            <pc:sldMk cId="4218501631" sldId="847"/>
            <ac:spMk id="3" creationId="{28FE190E-02CD-4FF8-A00A-0DCAEA0EB130}"/>
          </ac:spMkLst>
        </pc:spChg>
        <pc:spChg chg="mod ord">
          <ac:chgData name="Thomas Stensitzki" userId="75cafe6b-2f2a-469b-85c4-eec3b9c972ba" providerId="ADAL" clId="{BCC88A69-F5B9-4FD7-A4CC-C0C69A3C6A8A}" dt="2021-08-15T10:52:18.667" v="2178" actId="700"/>
          <ac:spMkLst>
            <pc:docMk/>
            <pc:sldMk cId="4218501631" sldId="847"/>
            <ac:spMk id="4" creationId="{26D01121-7C50-4E07-A2F1-B54ACD75CECC}"/>
          </ac:spMkLst>
        </pc:spChg>
        <pc:spChg chg="del">
          <ac:chgData name="Thomas Stensitzki" userId="75cafe6b-2f2a-469b-85c4-eec3b9c972ba" providerId="ADAL" clId="{BCC88A69-F5B9-4FD7-A4CC-C0C69A3C6A8A}" dt="2021-08-15T10:52:18.667" v="2178" actId="700"/>
          <ac:spMkLst>
            <pc:docMk/>
            <pc:sldMk cId="4218501631" sldId="847"/>
            <ac:spMk id="5" creationId="{D3258179-A4EB-4B46-82D3-C5B3BA16DCEB}"/>
          </ac:spMkLst>
        </pc:spChg>
        <pc:spChg chg="add mod ord">
          <ac:chgData name="Thomas Stensitzki" userId="75cafe6b-2f2a-469b-85c4-eec3b9c972ba" providerId="ADAL" clId="{BCC88A69-F5B9-4FD7-A4CC-C0C69A3C6A8A}" dt="2021-08-15T10:55:42.525" v="2179"/>
          <ac:spMkLst>
            <pc:docMk/>
            <pc:sldMk cId="4218501631" sldId="847"/>
            <ac:spMk id="6" creationId="{96E06259-5BE3-4F78-B6F7-8C0336580673}"/>
          </ac:spMkLst>
        </pc:spChg>
        <pc:spChg chg="add mod ord">
          <ac:chgData name="Thomas Stensitzki" userId="75cafe6b-2f2a-469b-85c4-eec3b9c972ba" providerId="ADAL" clId="{BCC88A69-F5B9-4FD7-A4CC-C0C69A3C6A8A}" dt="2021-08-15T10:55:52.084" v="2181" actId="20577"/>
          <ac:spMkLst>
            <pc:docMk/>
            <pc:sldMk cId="4218501631" sldId="847"/>
            <ac:spMk id="7" creationId="{BEE79645-F3B2-492D-861C-92F6431C6BF1}"/>
          </ac:spMkLst>
        </pc:spChg>
        <pc:spChg chg="add mod">
          <ac:chgData name="Thomas Stensitzki" userId="75cafe6b-2f2a-469b-85c4-eec3b9c972ba" providerId="ADAL" clId="{BCC88A69-F5B9-4FD7-A4CC-C0C69A3C6A8A}" dt="2021-08-15T10:56:20.494" v="2183" actId="1076"/>
          <ac:spMkLst>
            <pc:docMk/>
            <pc:sldMk cId="4218501631" sldId="847"/>
            <ac:spMk id="9" creationId="{006EF588-CB32-452C-A006-6714019D8E10}"/>
          </ac:spMkLst>
        </pc:spChg>
        <pc:spChg chg="add mod">
          <ac:chgData name="Thomas Stensitzki" userId="75cafe6b-2f2a-469b-85c4-eec3b9c972ba" providerId="ADAL" clId="{BCC88A69-F5B9-4FD7-A4CC-C0C69A3C6A8A}" dt="2021-08-15T10:56:20.494" v="2183" actId="1076"/>
          <ac:spMkLst>
            <pc:docMk/>
            <pc:sldMk cId="4218501631" sldId="847"/>
            <ac:spMk id="10" creationId="{68BE7BB1-03BA-4C05-A5FB-FA5927525FDC}"/>
          </ac:spMkLst>
        </pc:spChg>
        <pc:picChg chg="add mod">
          <ac:chgData name="Thomas Stensitzki" userId="75cafe6b-2f2a-469b-85c4-eec3b9c972ba" providerId="ADAL" clId="{BCC88A69-F5B9-4FD7-A4CC-C0C69A3C6A8A}" dt="2021-08-15T10:56:20.494" v="2183" actId="1076"/>
          <ac:picMkLst>
            <pc:docMk/>
            <pc:sldMk cId="4218501631" sldId="847"/>
            <ac:picMk id="8" creationId="{1066DF9D-04EA-449B-8D78-0D9B68309C83}"/>
          </ac:picMkLst>
        </pc:picChg>
      </pc:sldChg>
      <pc:sldChg chg="addSp delSp modSp add mod ord modAnim">
        <pc:chgData name="Thomas Stensitzki" userId="75cafe6b-2f2a-469b-85c4-eec3b9c972ba" providerId="ADAL" clId="{BCC88A69-F5B9-4FD7-A4CC-C0C69A3C6A8A}" dt="2021-08-15T11:02:12.651" v="2491"/>
        <pc:sldMkLst>
          <pc:docMk/>
          <pc:sldMk cId="620137944" sldId="848"/>
        </pc:sldMkLst>
        <pc:spChg chg="del">
          <ac:chgData name="Thomas Stensitzki" userId="75cafe6b-2f2a-469b-85c4-eec3b9c972ba" providerId="ADAL" clId="{BCC88A69-F5B9-4FD7-A4CC-C0C69A3C6A8A}" dt="2021-08-15T11:00:35.447" v="2470" actId="478"/>
          <ac:spMkLst>
            <pc:docMk/>
            <pc:sldMk cId="620137944" sldId="848"/>
            <ac:spMk id="4" creationId="{C7B7B22C-940E-4D7F-8B21-CEFE8F57E051}"/>
          </ac:spMkLst>
        </pc:spChg>
        <pc:spChg chg="mod">
          <ac:chgData name="Thomas Stensitzki" userId="75cafe6b-2f2a-469b-85c4-eec3b9c972ba" providerId="ADAL" clId="{BCC88A69-F5B9-4FD7-A4CC-C0C69A3C6A8A}" dt="2021-08-15T11:01:58.853" v="2489" actId="6549"/>
          <ac:spMkLst>
            <pc:docMk/>
            <pc:sldMk cId="620137944" sldId="848"/>
            <ac:spMk id="7" creationId="{299A1E60-7B25-43F2-9023-DA876F82C634}"/>
          </ac:spMkLst>
        </pc:spChg>
        <pc:spChg chg="add mod">
          <ac:chgData name="Thomas Stensitzki" userId="75cafe6b-2f2a-469b-85c4-eec3b9c972ba" providerId="ADAL" clId="{BCC88A69-F5B9-4FD7-A4CC-C0C69A3C6A8A}" dt="2021-08-15T11:01:20.732" v="2480" actId="1076"/>
          <ac:spMkLst>
            <pc:docMk/>
            <pc:sldMk cId="620137944" sldId="848"/>
            <ac:spMk id="9" creationId="{BF2324DC-CD78-44DB-B104-4FE63EFF7123}"/>
          </ac:spMkLst>
        </pc:spChg>
        <pc:spChg chg="add mod">
          <ac:chgData name="Thomas Stensitzki" userId="75cafe6b-2f2a-469b-85c4-eec3b9c972ba" providerId="ADAL" clId="{BCC88A69-F5B9-4FD7-A4CC-C0C69A3C6A8A}" dt="2021-08-15T11:01:35.972" v="2483" actId="14100"/>
          <ac:spMkLst>
            <pc:docMk/>
            <pc:sldMk cId="620137944" sldId="848"/>
            <ac:spMk id="10" creationId="{749223E4-9AA2-4B03-970E-339521E788D6}"/>
          </ac:spMkLst>
        </pc:spChg>
        <pc:spChg chg="add del mod">
          <ac:chgData name="Thomas Stensitzki" userId="75cafe6b-2f2a-469b-85c4-eec3b9c972ba" providerId="ADAL" clId="{BCC88A69-F5B9-4FD7-A4CC-C0C69A3C6A8A}" dt="2021-08-15T11:02:12.651" v="2491"/>
          <ac:spMkLst>
            <pc:docMk/>
            <pc:sldMk cId="620137944" sldId="848"/>
            <ac:spMk id="11" creationId="{D83DBE9B-B68D-41C7-85C7-61E94C95B1DF}"/>
          </ac:spMkLst>
        </pc:spChg>
      </pc:sldChg>
      <pc:sldChg chg="delSp modSp add mod ord modAnim">
        <pc:chgData name="Thomas Stensitzki" userId="75cafe6b-2f2a-469b-85c4-eec3b9c972ba" providerId="ADAL" clId="{BCC88A69-F5B9-4FD7-A4CC-C0C69A3C6A8A}" dt="2021-08-17T08:34:49.939" v="7471"/>
        <pc:sldMkLst>
          <pc:docMk/>
          <pc:sldMk cId="2621885673" sldId="849"/>
        </pc:sldMkLst>
        <pc:spChg chg="del">
          <ac:chgData name="Thomas Stensitzki" userId="75cafe6b-2f2a-469b-85c4-eec3b9c972ba" providerId="ADAL" clId="{BCC88A69-F5B9-4FD7-A4CC-C0C69A3C6A8A}" dt="2021-08-17T08:34:39.145" v="7469" actId="478"/>
          <ac:spMkLst>
            <pc:docMk/>
            <pc:sldMk cId="2621885673" sldId="849"/>
            <ac:spMk id="4" creationId="{C7B7B22C-940E-4D7F-8B21-CEFE8F57E051}"/>
          </ac:spMkLst>
        </pc:spChg>
        <pc:spChg chg="mod">
          <ac:chgData name="Thomas Stensitzki" userId="75cafe6b-2f2a-469b-85c4-eec3b9c972ba" providerId="ADAL" clId="{BCC88A69-F5B9-4FD7-A4CC-C0C69A3C6A8A}" dt="2021-08-15T11:02:24.388" v="2514" actId="20577"/>
          <ac:spMkLst>
            <pc:docMk/>
            <pc:sldMk cId="2621885673" sldId="849"/>
            <ac:spMk id="6" creationId="{CB21E7FE-5169-4D7D-A3F1-EFEDF6F972A9}"/>
          </ac:spMkLst>
        </pc:spChg>
        <pc:spChg chg="mod">
          <ac:chgData name="Thomas Stensitzki" userId="75cafe6b-2f2a-469b-85c4-eec3b9c972ba" providerId="ADAL" clId="{BCC88A69-F5B9-4FD7-A4CC-C0C69A3C6A8A}" dt="2021-08-15T11:07:52.747" v="2926" actId="114"/>
          <ac:spMkLst>
            <pc:docMk/>
            <pc:sldMk cId="2621885673" sldId="849"/>
            <ac:spMk id="7" creationId="{299A1E60-7B25-43F2-9023-DA876F82C634}"/>
          </ac:spMkLst>
        </pc:spChg>
        <pc:spChg chg="mod">
          <ac:chgData name="Thomas Stensitzki" userId="75cafe6b-2f2a-469b-85c4-eec3b9c972ba" providerId="ADAL" clId="{BCC88A69-F5B9-4FD7-A4CC-C0C69A3C6A8A}" dt="2021-08-15T11:02:27.216" v="2515" actId="6549"/>
          <ac:spMkLst>
            <pc:docMk/>
            <pc:sldMk cId="2621885673" sldId="849"/>
            <ac:spMk id="8" creationId="{8E6FBB5F-11F8-4438-99D2-572C409DE5C7}"/>
          </ac:spMkLst>
        </pc:spChg>
      </pc:sldChg>
      <pc:sldChg chg="addSp delSp modSp new mod modClrScheme chgLayout">
        <pc:chgData name="Thomas Stensitzki" userId="75cafe6b-2f2a-469b-85c4-eec3b9c972ba" providerId="ADAL" clId="{BCC88A69-F5B9-4FD7-A4CC-C0C69A3C6A8A}" dt="2021-08-15T11:08:34.942" v="2941" actId="20577"/>
        <pc:sldMkLst>
          <pc:docMk/>
          <pc:sldMk cId="3421128839" sldId="850"/>
        </pc:sldMkLst>
        <pc:spChg chg="del mod ord">
          <ac:chgData name="Thomas Stensitzki" userId="75cafe6b-2f2a-469b-85c4-eec3b9c972ba" providerId="ADAL" clId="{BCC88A69-F5B9-4FD7-A4CC-C0C69A3C6A8A}" dt="2021-08-15T11:08:27.648" v="2932" actId="700"/>
          <ac:spMkLst>
            <pc:docMk/>
            <pc:sldMk cId="3421128839" sldId="850"/>
            <ac:spMk id="2" creationId="{00A0FDC6-5CF6-461B-AA18-3EA93FEFFA47}"/>
          </ac:spMkLst>
        </pc:spChg>
        <pc:spChg chg="del mod ord">
          <ac:chgData name="Thomas Stensitzki" userId="75cafe6b-2f2a-469b-85c4-eec3b9c972ba" providerId="ADAL" clId="{BCC88A69-F5B9-4FD7-A4CC-C0C69A3C6A8A}" dt="2021-08-15T11:08:27.648" v="2932" actId="700"/>
          <ac:spMkLst>
            <pc:docMk/>
            <pc:sldMk cId="3421128839" sldId="850"/>
            <ac:spMk id="3" creationId="{7E496D0D-96C9-4FF7-B9D5-8ADAF39078D0}"/>
          </ac:spMkLst>
        </pc:spChg>
        <pc:spChg chg="mod ord">
          <ac:chgData name="Thomas Stensitzki" userId="75cafe6b-2f2a-469b-85c4-eec3b9c972ba" providerId="ADAL" clId="{BCC88A69-F5B9-4FD7-A4CC-C0C69A3C6A8A}" dt="2021-08-15T11:08:27.648" v="2932" actId="700"/>
          <ac:spMkLst>
            <pc:docMk/>
            <pc:sldMk cId="3421128839" sldId="850"/>
            <ac:spMk id="4" creationId="{00D7E5CD-FA3C-4E22-A5E4-5FCA68E329D9}"/>
          </ac:spMkLst>
        </pc:spChg>
        <pc:spChg chg="del">
          <ac:chgData name="Thomas Stensitzki" userId="75cafe6b-2f2a-469b-85c4-eec3b9c972ba" providerId="ADAL" clId="{BCC88A69-F5B9-4FD7-A4CC-C0C69A3C6A8A}" dt="2021-08-15T11:08:27.648" v="2932" actId="700"/>
          <ac:spMkLst>
            <pc:docMk/>
            <pc:sldMk cId="3421128839" sldId="850"/>
            <ac:spMk id="5" creationId="{8036091A-2C11-4C1D-AE04-81BD028FBE23}"/>
          </ac:spMkLst>
        </pc:spChg>
        <pc:spChg chg="add mod ord">
          <ac:chgData name="Thomas Stensitzki" userId="75cafe6b-2f2a-469b-85c4-eec3b9c972ba" providerId="ADAL" clId="{BCC88A69-F5B9-4FD7-A4CC-C0C69A3C6A8A}" dt="2021-08-15T11:08:34.942" v="2941" actId="20577"/>
          <ac:spMkLst>
            <pc:docMk/>
            <pc:sldMk cId="3421128839" sldId="850"/>
            <ac:spMk id="6" creationId="{1B547299-E234-42EF-BD1D-D4BD9E250A87}"/>
          </ac:spMkLst>
        </pc:spChg>
        <pc:spChg chg="add mod ord">
          <ac:chgData name="Thomas Stensitzki" userId="75cafe6b-2f2a-469b-85c4-eec3b9c972ba" providerId="ADAL" clId="{BCC88A69-F5B9-4FD7-A4CC-C0C69A3C6A8A}" dt="2021-08-15T11:08:27.648" v="2932" actId="700"/>
          <ac:spMkLst>
            <pc:docMk/>
            <pc:sldMk cId="3421128839" sldId="850"/>
            <ac:spMk id="7" creationId="{DFE214A4-A972-41BB-9F79-CAAE2B1AA80E}"/>
          </ac:spMkLst>
        </pc:spChg>
      </pc:sldChg>
      <pc:sldChg chg="addSp delSp modSp new mod modClrScheme modAnim chgLayout">
        <pc:chgData name="Thomas Stensitzki" userId="75cafe6b-2f2a-469b-85c4-eec3b9c972ba" providerId="ADAL" clId="{BCC88A69-F5B9-4FD7-A4CC-C0C69A3C6A8A}" dt="2021-08-17T09:49:35.320" v="7499" actId="6549"/>
        <pc:sldMkLst>
          <pc:docMk/>
          <pc:sldMk cId="2391359621" sldId="851"/>
        </pc:sldMkLst>
        <pc:spChg chg="del mod ord">
          <ac:chgData name="Thomas Stensitzki" userId="75cafe6b-2f2a-469b-85c4-eec3b9c972ba" providerId="ADAL" clId="{BCC88A69-F5B9-4FD7-A4CC-C0C69A3C6A8A}" dt="2021-08-15T11:08:44.169" v="2943" actId="700"/>
          <ac:spMkLst>
            <pc:docMk/>
            <pc:sldMk cId="2391359621" sldId="851"/>
            <ac:spMk id="2" creationId="{2E7D51A5-B5F7-4DE9-A0F2-650FFB753953}"/>
          </ac:spMkLst>
        </pc:spChg>
        <pc:spChg chg="del mod ord">
          <ac:chgData name="Thomas Stensitzki" userId="75cafe6b-2f2a-469b-85c4-eec3b9c972ba" providerId="ADAL" clId="{BCC88A69-F5B9-4FD7-A4CC-C0C69A3C6A8A}" dt="2021-08-15T11:08:44.169" v="2943" actId="700"/>
          <ac:spMkLst>
            <pc:docMk/>
            <pc:sldMk cId="2391359621" sldId="851"/>
            <ac:spMk id="3" creationId="{639823EB-99C4-421C-A055-90294C60C95D}"/>
          </ac:spMkLst>
        </pc:spChg>
        <pc:spChg chg="add mod ord">
          <ac:chgData name="Thomas Stensitzki" userId="75cafe6b-2f2a-469b-85c4-eec3b9c972ba" providerId="ADAL" clId="{BCC88A69-F5B9-4FD7-A4CC-C0C69A3C6A8A}" dt="2021-08-15T11:08:58.129" v="2966" actId="20577"/>
          <ac:spMkLst>
            <pc:docMk/>
            <pc:sldMk cId="2391359621" sldId="851"/>
            <ac:spMk id="4" creationId="{37BC2E27-3DF9-439C-BF18-763D7FC9C483}"/>
          </ac:spMkLst>
        </pc:spChg>
        <pc:spChg chg="add mod ord">
          <ac:chgData name="Thomas Stensitzki" userId="75cafe6b-2f2a-469b-85c4-eec3b9c972ba" providerId="ADAL" clId="{BCC88A69-F5B9-4FD7-A4CC-C0C69A3C6A8A}" dt="2021-08-17T09:49:35.320" v="7499" actId="6549"/>
          <ac:spMkLst>
            <pc:docMk/>
            <pc:sldMk cId="2391359621" sldId="851"/>
            <ac:spMk id="5" creationId="{30DB7B92-8B4F-4775-B396-2832FCB726D5}"/>
          </ac:spMkLst>
        </pc:spChg>
        <pc:spChg chg="add mod ord">
          <ac:chgData name="Thomas Stensitzki" userId="75cafe6b-2f2a-469b-85c4-eec3b9c972ba" providerId="ADAL" clId="{BCC88A69-F5B9-4FD7-A4CC-C0C69A3C6A8A}" dt="2021-08-15T11:17:17.024" v="3284" actId="20577"/>
          <ac:spMkLst>
            <pc:docMk/>
            <pc:sldMk cId="2391359621" sldId="851"/>
            <ac:spMk id="6" creationId="{1D200BF9-D0E3-4EDB-91BE-60E3F212E7DE}"/>
          </ac:spMkLst>
        </pc:spChg>
        <pc:picChg chg="add mod">
          <ac:chgData name="Thomas Stensitzki" userId="75cafe6b-2f2a-469b-85c4-eec3b9c972ba" providerId="ADAL" clId="{BCC88A69-F5B9-4FD7-A4CC-C0C69A3C6A8A}" dt="2021-08-15T11:53:54.008" v="4098" actId="1076"/>
          <ac:picMkLst>
            <pc:docMk/>
            <pc:sldMk cId="2391359621" sldId="851"/>
            <ac:picMk id="7" creationId="{F30753BF-230D-48F5-AE80-6D4D60CE012A}"/>
          </ac:picMkLst>
        </pc:picChg>
        <pc:picChg chg="add mod">
          <ac:chgData name="Thomas Stensitzki" userId="75cafe6b-2f2a-469b-85c4-eec3b9c972ba" providerId="ADAL" clId="{BCC88A69-F5B9-4FD7-A4CC-C0C69A3C6A8A}" dt="2021-08-15T11:54:04.168" v="4100" actId="1076"/>
          <ac:picMkLst>
            <pc:docMk/>
            <pc:sldMk cId="2391359621" sldId="851"/>
            <ac:picMk id="8" creationId="{EE583999-9F01-42EA-AADF-024BC66C1E2B}"/>
          </ac:picMkLst>
        </pc:picChg>
      </pc:sldChg>
      <pc:sldChg chg="modSp add mod modAnim">
        <pc:chgData name="Thomas Stensitzki" userId="75cafe6b-2f2a-469b-85c4-eec3b9c972ba" providerId="ADAL" clId="{BCC88A69-F5B9-4FD7-A4CC-C0C69A3C6A8A}" dt="2021-08-17T09:57:49.369" v="7503"/>
        <pc:sldMkLst>
          <pc:docMk/>
          <pc:sldMk cId="4234815409" sldId="852"/>
        </pc:sldMkLst>
        <pc:spChg chg="mod">
          <ac:chgData name="Thomas Stensitzki" userId="75cafe6b-2f2a-469b-85c4-eec3b9c972ba" providerId="ADAL" clId="{BCC88A69-F5B9-4FD7-A4CC-C0C69A3C6A8A}" dt="2021-08-15T11:20:11.402" v="3417" actId="20577"/>
          <ac:spMkLst>
            <pc:docMk/>
            <pc:sldMk cId="4234815409" sldId="852"/>
            <ac:spMk id="5" creationId="{30DB7B92-8B4F-4775-B396-2832FCB726D5}"/>
          </ac:spMkLst>
        </pc:spChg>
        <pc:spChg chg="mod">
          <ac:chgData name="Thomas Stensitzki" userId="75cafe6b-2f2a-469b-85c4-eec3b9c972ba" providerId="ADAL" clId="{BCC88A69-F5B9-4FD7-A4CC-C0C69A3C6A8A}" dt="2021-08-15T11:17:09.749" v="3276" actId="20577"/>
          <ac:spMkLst>
            <pc:docMk/>
            <pc:sldMk cId="4234815409" sldId="852"/>
            <ac:spMk id="6" creationId="{1D200BF9-D0E3-4EDB-91BE-60E3F212E7DE}"/>
          </ac:spMkLst>
        </pc:spChg>
      </pc:sldChg>
      <pc:sldChg chg="modSp add del mod">
        <pc:chgData name="Thomas Stensitzki" userId="75cafe6b-2f2a-469b-85c4-eec3b9c972ba" providerId="ADAL" clId="{BCC88A69-F5B9-4FD7-A4CC-C0C69A3C6A8A}" dt="2021-08-17T09:58:19.089" v="7504" actId="47"/>
        <pc:sldMkLst>
          <pc:docMk/>
          <pc:sldMk cId="322637564" sldId="853"/>
        </pc:sldMkLst>
        <pc:spChg chg="mod">
          <ac:chgData name="Thomas Stensitzki" userId="75cafe6b-2f2a-469b-85c4-eec3b9c972ba" providerId="ADAL" clId="{BCC88A69-F5B9-4FD7-A4CC-C0C69A3C6A8A}" dt="2021-08-15T11:29:38.929" v="3420" actId="20577"/>
          <ac:spMkLst>
            <pc:docMk/>
            <pc:sldMk cId="322637564" sldId="853"/>
            <ac:spMk id="5" creationId="{30DB7B92-8B4F-4775-B396-2832FCB726D5}"/>
          </ac:spMkLst>
        </pc:spChg>
      </pc:sldChg>
      <pc:sldChg chg="addSp delSp modSp new mod modClrScheme modAnim chgLayout">
        <pc:chgData name="Thomas Stensitzki" userId="75cafe6b-2f2a-469b-85c4-eec3b9c972ba" providerId="ADAL" clId="{BCC88A69-F5B9-4FD7-A4CC-C0C69A3C6A8A}" dt="2021-08-21T13:42:03.409" v="7706"/>
        <pc:sldMkLst>
          <pc:docMk/>
          <pc:sldMk cId="389859264" sldId="854"/>
        </pc:sldMkLst>
        <pc:spChg chg="del mod ord">
          <ac:chgData name="Thomas Stensitzki" userId="75cafe6b-2f2a-469b-85c4-eec3b9c972ba" providerId="ADAL" clId="{BCC88A69-F5B9-4FD7-A4CC-C0C69A3C6A8A}" dt="2021-08-15T11:30:00.402" v="3422" actId="700"/>
          <ac:spMkLst>
            <pc:docMk/>
            <pc:sldMk cId="389859264" sldId="854"/>
            <ac:spMk id="2" creationId="{FA6BBC59-1264-4064-8F19-634AA5AEB56C}"/>
          </ac:spMkLst>
        </pc:spChg>
        <pc:spChg chg="add mod">
          <ac:chgData name="Thomas Stensitzki" userId="75cafe6b-2f2a-469b-85c4-eec3b9c972ba" providerId="ADAL" clId="{BCC88A69-F5B9-4FD7-A4CC-C0C69A3C6A8A}" dt="2021-08-17T10:01:14.551" v="7528" actId="1076"/>
          <ac:spMkLst>
            <pc:docMk/>
            <pc:sldMk cId="389859264" sldId="854"/>
            <ac:spMk id="2" creationId="{FCBD7382-69E1-4A59-8A86-CCF38427C5FA}"/>
          </ac:spMkLst>
        </pc:spChg>
        <pc:spChg chg="del mod ord">
          <ac:chgData name="Thomas Stensitzki" userId="75cafe6b-2f2a-469b-85c4-eec3b9c972ba" providerId="ADAL" clId="{BCC88A69-F5B9-4FD7-A4CC-C0C69A3C6A8A}" dt="2021-08-15T11:30:00.402" v="3422" actId="700"/>
          <ac:spMkLst>
            <pc:docMk/>
            <pc:sldMk cId="389859264" sldId="854"/>
            <ac:spMk id="3" creationId="{D6172C13-B3C4-4326-982B-99DC5078AA3D}"/>
          </ac:spMkLst>
        </pc:spChg>
        <pc:spChg chg="mod ord">
          <ac:chgData name="Thomas Stensitzki" userId="75cafe6b-2f2a-469b-85c4-eec3b9c972ba" providerId="ADAL" clId="{BCC88A69-F5B9-4FD7-A4CC-C0C69A3C6A8A}" dt="2021-08-15T11:30:00.402" v="3422" actId="700"/>
          <ac:spMkLst>
            <pc:docMk/>
            <pc:sldMk cId="389859264" sldId="854"/>
            <ac:spMk id="4" creationId="{1DA81DF3-7A64-4409-9FFB-697700523930}"/>
          </ac:spMkLst>
        </pc:spChg>
        <pc:spChg chg="del">
          <ac:chgData name="Thomas Stensitzki" userId="75cafe6b-2f2a-469b-85c4-eec3b9c972ba" providerId="ADAL" clId="{BCC88A69-F5B9-4FD7-A4CC-C0C69A3C6A8A}" dt="2021-08-15T11:30:00.402" v="3422" actId="700"/>
          <ac:spMkLst>
            <pc:docMk/>
            <pc:sldMk cId="389859264" sldId="854"/>
            <ac:spMk id="5" creationId="{4C3FCED8-CC65-4FCE-8079-E7D941E9EA33}"/>
          </ac:spMkLst>
        </pc:spChg>
        <pc:spChg chg="add mod ord">
          <ac:chgData name="Thomas Stensitzki" userId="75cafe6b-2f2a-469b-85c4-eec3b9c972ba" providerId="ADAL" clId="{BCC88A69-F5B9-4FD7-A4CC-C0C69A3C6A8A}" dt="2021-08-15T11:30:07.040" v="3445" actId="20577"/>
          <ac:spMkLst>
            <pc:docMk/>
            <pc:sldMk cId="389859264" sldId="854"/>
            <ac:spMk id="6" creationId="{BBEDA1ED-4B8C-47B8-8DEA-7FAE9EDE4B6C}"/>
          </ac:spMkLst>
        </pc:spChg>
        <pc:spChg chg="add mod ord">
          <ac:chgData name="Thomas Stensitzki" userId="75cafe6b-2f2a-469b-85c4-eec3b9c972ba" providerId="ADAL" clId="{BCC88A69-F5B9-4FD7-A4CC-C0C69A3C6A8A}" dt="2021-08-15T11:30:00.402" v="3422" actId="700"/>
          <ac:spMkLst>
            <pc:docMk/>
            <pc:sldMk cId="389859264" sldId="854"/>
            <ac:spMk id="7" creationId="{AFC37288-C6AD-4977-BAB0-5B13E63F2742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8" creationId="{7F17F1EC-2217-4622-BD1E-2DF13E853E4E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9" creationId="{3676F701-FAEA-4E65-8007-08B05B59B8AA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3" creationId="{A4B73498-AADC-42C0-AC7B-570B6FC9D3CF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5" creationId="{B6FC1246-EB33-4C20-86FB-249D517F8867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6" creationId="{A651F94C-60F5-430B-B68C-1521CFF54E21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7" creationId="{AFC01225-728B-4776-9DE2-F1F65F4EEF5A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8" creationId="{0F1D1FFE-58F9-4F1F-850F-4F4433385EB6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19" creationId="{9C2E5569-ABA0-4085-BBA0-C3781EA3AD53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20" creationId="{87FB4F72-FBA2-423A-9170-9FA5245C7527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26" creationId="{6076DF33-7B2D-4C29-88B2-4F817A6C7A63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27" creationId="{89566E8E-CA1B-4142-9012-CE733498CCDE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28" creationId="{EC69C4F7-73FB-4FFD-B843-2AAD875039B8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3" creationId="{63A0C082-F463-4263-AEAC-76E835230890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4" creationId="{E670764A-07F6-4878-BCC1-19D2DBF67851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5" creationId="{B1163DC0-15D1-4C35-8885-6EDE641E9F49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6" creationId="{41DC0D85-4CF9-4A90-9E22-AC69C52155FE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7" creationId="{E0161965-8818-4AFF-9D84-3DD9487326D0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8" creationId="{B82801CC-92D3-472D-86CF-6D969B07A6B6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49" creationId="{7FBE63AD-8FA0-41DC-9C43-2FD56D80CA53}"/>
          </ac:spMkLst>
        </pc:spChg>
        <pc:spChg chg="add mod">
          <ac:chgData name="Thomas Stensitzki" userId="75cafe6b-2f2a-469b-85c4-eec3b9c972ba" providerId="ADAL" clId="{BCC88A69-F5B9-4FD7-A4CC-C0C69A3C6A8A}" dt="2021-08-17T09:58:41.779" v="7505" actId="113"/>
          <ac:spMkLst>
            <pc:docMk/>
            <pc:sldMk cId="389859264" sldId="854"/>
            <ac:spMk id="50" creationId="{BEBA58DD-2620-4F01-9D01-669426C4A577}"/>
          </ac:spMkLst>
        </pc:spChg>
        <pc:spChg chg="add mod">
          <ac:chgData name="Thomas Stensitzki" userId="75cafe6b-2f2a-469b-85c4-eec3b9c972ba" providerId="ADAL" clId="{BCC88A69-F5B9-4FD7-A4CC-C0C69A3C6A8A}" dt="2021-08-17T09:58:47.204" v="7507" actId="113"/>
          <ac:spMkLst>
            <pc:docMk/>
            <pc:sldMk cId="389859264" sldId="854"/>
            <ac:spMk id="51" creationId="{39ED98EA-D5B8-40B9-A953-AC6931209ECF}"/>
          </ac:spMkLst>
        </pc:spChg>
        <pc:spChg chg="add mod">
          <ac:chgData name="Thomas Stensitzki" userId="75cafe6b-2f2a-469b-85c4-eec3b9c972ba" providerId="ADAL" clId="{BCC88A69-F5B9-4FD7-A4CC-C0C69A3C6A8A}" dt="2021-08-17T09:58:44.544" v="7506" actId="113"/>
          <ac:spMkLst>
            <pc:docMk/>
            <pc:sldMk cId="389859264" sldId="854"/>
            <ac:spMk id="52" creationId="{FE4DE4CD-3ABC-45F1-842B-979D11A6BFE2}"/>
          </ac:spMkLst>
        </pc:spChg>
        <pc:spChg chg="add mod">
          <ac:chgData name="Thomas Stensitzki" userId="75cafe6b-2f2a-469b-85c4-eec3b9c972ba" providerId="ADAL" clId="{BCC88A69-F5B9-4FD7-A4CC-C0C69A3C6A8A}" dt="2021-08-17T09:58:49.272" v="7508" actId="113"/>
          <ac:spMkLst>
            <pc:docMk/>
            <pc:sldMk cId="389859264" sldId="854"/>
            <ac:spMk id="53" creationId="{669F2CD8-84A1-4D2E-B191-7EDEB0E9E49F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56" creationId="{4085B763-D9D1-46FA-803B-75C21AA546A9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57" creationId="{C3BD407C-CBE6-4F46-AC99-87C971A7EEF3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63" creationId="{E3BA3A56-D068-4F06-B543-1018A93952AD}"/>
          </ac:spMkLst>
        </pc:spChg>
        <pc:spChg chg="add mod">
          <ac:chgData name="Thomas Stensitzki" userId="75cafe6b-2f2a-469b-85c4-eec3b9c972ba" providerId="ADAL" clId="{BCC88A69-F5B9-4FD7-A4CC-C0C69A3C6A8A}" dt="2021-08-15T11:30:31.752" v="3480" actId="1037"/>
          <ac:spMkLst>
            <pc:docMk/>
            <pc:sldMk cId="389859264" sldId="854"/>
            <ac:spMk id="64" creationId="{C85E84EE-B294-43F7-84E6-AB34F45CA712}"/>
          </ac:spMkLst>
        </pc:spChg>
        <pc:spChg chg="add mod">
          <ac:chgData name="Thomas Stensitzki" userId="75cafe6b-2f2a-469b-85c4-eec3b9c972ba" providerId="ADAL" clId="{BCC88A69-F5B9-4FD7-A4CC-C0C69A3C6A8A}" dt="2021-08-21T13:41:59.359" v="7705" actId="5793"/>
          <ac:spMkLst>
            <pc:docMk/>
            <pc:sldMk cId="389859264" sldId="854"/>
            <ac:spMk id="65" creationId="{5DCE77F4-1E86-40F3-8AF6-95FA1CED740B}"/>
          </ac:spMkLst>
        </pc:spChg>
        <pc:spChg chg="add mod">
          <ac:chgData name="Thomas Stensitzki" userId="75cafe6b-2f2a-469b-85c4-eec3b9c972ba" providerId="ADAL" clId="{BCC88A69-F5B9-4FD7-A4CC-C0C69A3C6A8A}" dt="2021-08-17T10:01:01.045" v="7527" actId="1076"/>
          <ac:spMkLst>
            <pc:docMk/>
            <pc:sldMk cId="389859264" sldId="854"/>
            <ac:spMk id="66" creationId="{24B30340-495D-4D56-8DBB-070002AD2E79}"/>
          </ac:spMkLst>
        </pc:sp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10" creationId="{9F7E945A-FF24-450A-8C00-5F02079F80BA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11" creationId="{FBF2D3E7-5BC4-4A75-958E-A650399C43C8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12" creationId="{4D1E6871-A411-412A-9D40-7DAAAB0B427C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14" creationId="{3335ED97-F64A-435F-8269-4789BE9C88A0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21" creationId="{D06ADFCC-E37B-4EB6-9C26-51280C454F80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22" creationId="{01C19C97-8AD7-42C1-AC52-885947D8C94E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23" creationId="{9B579DA8-5F7C-4D19-A2D7-754F68259E78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24" creationId="{8C1D9E18-71D8-46A4-B0F0-8861FDF856E4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25" creationId="{63F02044-52F6-42FE-886B-8D9621FD35BA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41" creationId="{BA3F8209-E3CC-42FB-8B6F-B2400C07B24F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58" creationId="{C7777BA1-7E37-4396-9150-DA76968845E8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59" creationId="{6B31FA39-A427-49CC-9E71-1244D626B3F1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60" creationId="{9FA48903-E282-4A57-99EE-4C1E48BF0B24}"/>
          </ac:picMkLst>
        </pc:picChg>
        <pc:picChg chg="add mod">
          <ac:chgData name="Thomas Stensitzki" userId="75cafe6b-2f2a-469b-85c4-eec3b9c972ba" providerId="ADAL" clId="{BCC88A69-F5B9-4FD7-A4CC-C0C69A3C6A8A}" dt="2021-08-15T11:30:31.752" v="3480" actId="1037"/>
          <ac:picMkLst>
            <pc:docMk/>
            <pc:sldMk cId="389859264" sldId="854"/>
            <ac:picMk id="61" creationId="{1E958EC4-35BA-4110-85B3-4E9AE5A2C32B}"/>
          </ac:picMkLst>
        </pc:picChg>
        <pc:picChg chg="add del mod">
          <ac:chgData name="Thomas Stensitzki" userId="75cafe6b-2f2a-469b-85c4-eec3b9c972ba" providerId="ADAL" clId="{BCC88A69-F5B9-4FD7-A4CC-C0C69A3C6A8A}" dt="2021-08-17T09:59:37.811" v="7512"/>
          <ac:picMkLst>
            <pc:docMk/>
            <pc:sldMk cId="389859264" sldId="854"/>
            <ac:picMk id="65" creationId="{596A07B6-A8A3-4387-8CB4-E807F333F591}"/>
          </ac:picMkLst>
        </pc:pic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29" creationId="{361696F2-801E-446C-898D-3F99C5AE3EF8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0" creationId="{CF8C9B56-1558-42E2-8ED8-BDD4B70CF2F3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1" creationId="{D79C87BE-8BBE-4199-AEBB-455A88CEB014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2" creationId="{A6DAE5A7-5849-4E50-A7B4-E5A14C13D38B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3" creationId="{426237BA-4CA1-4EC8-9DE6-880B6C8FADCC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4" creationId="{0AE6F7DA-88B1-4D75-A64E-2C2D9EC97BF1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5" creationId="{BDE23BE6-5DED-48BB-84D0-9277A0BD4466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6" creationId="{85A00426-9756-4AAD-BE58-835F5B0ED5AD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7" creationId="{59BCCFA5-C5DD-4832-B84B-C2E9A1C8C4DC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8" creationId="{1DFC39ED-6F54-4254-9A8C-63669BBD8FCE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39" creationId="{2332B541-E3CD-432B-AC0F-7A8783D835B0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40" creationId="{4D8F13AE-90A8-473E-85CD-BBA21780C9BA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42" creationId="{AD0DC0EC-01FF-4111-885B-181346BC4B3D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54" creationId="{6FEFDB8E-F21E-4110-BBFA-11569BA23702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55" creationId="{B56F928B-2F12-481F-9860-ED0AE7C93820}"/>
          </ac:cxnSpMkLst>
        </pc:cxnChg>
        <pc:cxnChg chg="add mod">
          <ac:chgData name="Thomas Stensitzki" userId="75cafe6b-2f2a-469b-85c4-eec3b9c972ba" providerId="ADAL" clId="{BCC88A69-F5B9-4FD7-A4CC-C0C69A3C6A8A}" dt="2021-08-15T11:30:31.752" v="3480" actId="1037"/>
          <ac:cxnSpMkLst>
            <pc:docMk/>
            <pc:sldMk cId="389859264" sldId="854"/>
            <ac:cxnSpMk id="62" creationId="{722FAA6F-BAF6-4D53-B12A-57FA383360DA}"/>
          </ac:cxnSpMkLst>
        </pc:cxnChg>
      </pc:sldChg>
      <pc:sldChg chg="addSp delSp modSp new mod modClrScheme modAnim chgLayout">
        <pc:chgData name="Thomas Stensitzki" userId="75cafe6b-2f2a-469b-85c4-eec3b9c972ba" providerId="ADAL" clId="{BCC88A69-F5B9-4FD7-A4CC-C0C69A3C6A8A}" dt="2021-08-17T13:36:28.797" v="7533"/>
        <pc:sldMkLst>
          <pc:docMk/>
          <pc:sldMk cId="4116360765" sldId="855"/>
        </pc:sldMkLst>
        <pc:spChg chg="del mod ord">
          <ac:chgData name="Thomas Stensitzki" userId="75cafe6b-2f2a-469b-85c4-eec3b9c972ba" providerId="ADAL" clId="{BCC88A69-F5B9-4FD7-A4CC-C0C69A3C6A8A}" dt="2021-08-15T11:31:18.278" v="3482" actId="700"/>
          <ac:spMkLst>
            <pc:docMk/>
            <pc:sldMk cId="4116360765" sldId="855"/>
            <ac:spMk id="2" creationId="{58DE6F4C-8977-45D6-A111-F0AC6C8CAC5E}"/>
          </ac:spMkLst>
        </pc:spChg>
        <pc:spChg chg="del mod ord">
          <ac:chgData name="Thomas Stensitzki" userId="75cafe6b-2f2a-469b-85c4-eec3b9c972ba" providerId="ADAL" clId="{BCC88A69-F5B9-4FD7-A4CC-C0C69A3C6A8A}" dt="2021-08-15T11:31:18.278" v="3482" actId="700"/>
          <ac:spMkLst>
            <pc:docMk/>
            <pc:sldMk cId="4116360765" sldId="855"/>
            <ac:spMk id="3" creationId="{B8FD46B4-F0B9-402C-BC50-C2A19C23DA05}"/>
          </ac:spMkLst>
        </pc:spChg>
        <pc:spChg chg="del mod ord">
          <ac:chgData name="Thomas Stensitzki" userId="75cafe6b-2f2a-469b-85c4-eec3b9c972ba" providerId="ADAL" clId="{BCC88A69-F5B9-4FD7-A4CC-C0C69A3C6A8A}" dt="2021-08-17T13:36:05.066" v="7530" actId="478"/>
          <ac:spMkLst>
            <pc:docMk/>
            <pc:sldMk cId="4116360765" sldId="855"/>
            <ac:spMk id="4" creationId="{9168B682-ACC3-42C0-90B0-50CE7C177F4F}"/>
          </ac:spMkLst>
        </pc:spChg>
        <pc:spChg chg="mod ord">
          <ac:chgData name="Thomas Stensitzki" userId="75cafe6b-2f2a-469b-85c4-eec3b9c972ba" providerId="ADAL" clId="{BCC88A69-F5B9-4FD7-A4CC-C0C69A3C6A8A}" dt="2021-08-15T11:31:18.278" v="3482" actId="700"/>
          <ac:spMkLst>
            <pc:docMk/>
            <pc:sldMk cId="4116360765" sldId="855"/>
            <ac:spMk id="5" creationId="{B50F45DB-FF9B-4711-9E5F-01B50EEF66C1}"/>
          </ac:spMkLst>
        </pc:spChg>
        <pc:spChg chg="add mod ord">
          <ac:chgData name="Thomas Stensitzki" userId="75cafe6b-2f2a-469b-85c4-eec3b9c972ba" providerId="ADAL" clId="{BCC88A69-F5B9-4FD7-A4CC-C0C69A3C6A8A}" dt="2021-08-15T11:44:13.143" v="3484"/>
          <ac:spMkLst>
            <pc:docMk/>
            <pc:sldMk cId="4116360765" sldId="855"/>
            <ac:spMk id="6" creationId="{D527DA88-34C5-4D64-9063-1FC22BBE5449}"/>
          </ac:spMkLst>
        </pc:spChg>
        <pc:spChg chg="add mod ord">
          <ac:chgData name="Thomas Stensitzki" userId="75cafe6b-2f2a-469b-85c4-eec3b9c972ba" providerId="ADAL" clId="{BCC88A69-F5B9-4FD7-A4CC-C0C69A3C6A8A}" dt="2021-08-15T11:48:50.477" v="3803" actId="20577"/>
          <ac:spMkLst>
            <pc:docMk/>
            <pc:sldMk cId="4116360765" sldId="855"/>
            <ac:spMk id="7" creationId="{B4234FEF-4746-41DE-96A4-06DF213C9F96}"/>
          </ac:spMkLst>
        </pc:spChg>
        <pc:spChg chg="add mod ord">
          <ac:chgData name="Thomas Stensitzki" userId="75cafe6b-2f2a-469b-85c4-eec3b9c972ba" providerId="ADAL" clId="{BCC88A69-F5B9-4FD7-A4CC-C0C69A3C6A8A}" dt="2021-08-15T11:44:00.075" v="3483"/>
          <ac:spMkLst>
            <pc:docMk/>
            <pc:sldMk cId="4116360765" sldId="855"/>
            <ac:spMk id="8" creationId="{C30167C9-C00E-4D7D-B826-86358CB5A502}"/>
          </ac:spMkLst>
        </pc:spChg>
      </pc:sldChg>
      <pc:sldChg chg="addSp delSp modSp new mod delAnim modAnim">
        <pc:chgData name="Thomas Stensitzki" userId="75cafe6b-2f2a-469b-85c4-eec3b9c972ba" providerId="ADAL" clId="{BCC88A69-F5B9-4FD7-A4CC-C0C69A3C6A8A}" dt="2021-08-17T13:40:04.609" v="7546" actId="20577"/>
        <pc:sldMkLst>
          <pc:docMk/>
          <pc:sldMk cId="3763767407" sldId="856"/>
        </pc:sldMkLst>
        <pc:spChg chg="mod">
          <ac:chgData name="Thomas Stensitzki" userId="75cafe6b-2f2a-469b-85c4-eec3b9c972ba" providerId="ADAL" clId="{BCC88A69-F5B9-4FD7-A4CC-C0C69A3C6A8A}" dt="2021-08-15T11:59:36.636" v="4379" actId="20577"/>
          <ac:spMkLst>
            <pc:docMk/>
            <pc:sldMk cId="3763767407" sldId="856"/>
            <ac:spMk id="2" creationId="{F98728BE-4994-4531-9C8E-A782EBF324D0}"/>
          </ac:spMkLst>
        </pc:spChg>
        <pc:spChg chg="mod">
          <ac:chgData name="Thomas Stensitzki" userId="75cafe6b-2f2a-469b-85c4-eec3b9c972ba" providerId="ADAL" clId="{BCC88A69-F5B9-4FD7-A4CC-C0C69A3C6A8A}" dt="2021-08-15T11:59:46.859" v="4382" actId="20577"/>
          <ac:spMkLst>
            <pc:docMk/>
            <pc:sldMk cId="3763767407" sldId="856"/>
            <ac:spMk id="3" creationId="{DEDAD52C-B9A7-4C14-B3AC-0D7D803CA39D}"/>
          </ac:spMkLst>
        </pc:spChg>
        <pc:spChg chg="mod">
          <ac:chgData name="Thomas Stensitzki" userId="75cafe6b-2f2a-469b-85c4-eec3b9c972ba" providerId="ADAL" clId="{BCC88A69-F5B9-4FD7-A4CC-C0C69A3C6A8A}" dt="2021-08-17T13:40:04.609" v="7546" actId="20577"/>
          <ac:spMkLst>
            <pc:docMk/>
            <pc:sldMk cId="3763767407" sldId="856"/>
            <ac:spMk id="5" creationId="{4B5AFBB2-D66D-4FDE-A41C-22B30BAD6980}"/>
          </ac:spMkLst>
        </pc:spChg>
        <pc:spChg chg="add del mod">
          <ac:chgData name="Thomas Stensitzki" userId="75cafe6b-2f2a-469b-85c4-eec3b9c972ba" providerId="ADAL" clId="{BCC88A69-F5B9-4FD7-A4CC-C0C69A3C6A8A}" dt="2021-08-15T11:52:01.049" v="3988" actId="478"/>
          <ac:spMkLst>
            <pc:docMk/>
            <pc:sldMk cId="3763767407" sldId="856"/>
            <ac:spMk id="6" creationId="{F51CA932-2744-400E-977C-874D3624BE8F}"/>
          </ac:spMkLst>
        </pc:spChg>
      </pc:sldChg>
      <pc:sldChg chg="delSp modSp add mod modAnim">
        <pc:chgData name="Thomas Stensitzki" userId="75cafe6b-2f2a-469b-85c4-eec3b9c972ba" providerId="ADAL" clId="{BCC88A69-F5B9-4FD7-A4CC-C0C69A3C6A8A}" dt="2021-08-17T13:39:19.048" v="7538"/>
        <pc:sldMkLst>
          <pc:docMk/>
          <pc:sldMk cId="1621066597" sldId="857"/>
        </pc:sldMkLst>
        <pc:spChg chg="del">
          <ac:chgData name="Thomas Stensitzki" userId="75cafe6b-2f2a-469b-85c4-eec3b9c972ba" providerId="ADAL" clId="{BCC88A69-F5B9-4FD7-A4CC-C0C69A3C6A8A}" dt="2021-08-17T13:36:32.343" v="7534" actId="478"/>
          <ac:spMkLst>
            <pc:docMk/>
            <pc:sldMk cId="1621066597" sldId="857"/>
            <ac:spMk id="4" creationId="{9168B682-ACC3-42C0-90B0-50CE7C177F4F}"/>
          </ac:spMkLst>
        </pc:spChg>
        <pc:spChg chg="mod">
          <ac:chgData name="Thomas Stensitzki" userId="75cafe6b-2f2a-469b-85c4-eec3b9c972ba" providerId="ADAL" clId="{BCC88A69-F5B9-4FD7-A4CC-C0C69A3C6A8A}" dt="2021-08-15T11:59:42.361" v="4380" actId="20577"/>
          <ac:spMkLst>
            <pc:docMk/>
            <pc:sldMk cId="1621066597" sldId="857"/>
            <ac:spMk id="8" creationId="{C30167C9-C00E-4D7D-B826-86358CB5A502}"/>
          </ac:spMkLst>
        </pc:spChg>
      </pc:sldChg>
      <pc:sldChg chg="modSp new mod modAnim">
        <pc:chgData name="Thomas Stensitzki" userId="75cafe6b-2f2a-469b-85c4-eec3b9c972ba" providerId="ADAL" clId="{BCC88A69-F5B9-4FD7-A4CC-C0C69A3C6A8A}" dt="2021-08-17T13:41:36.953" v="7551"/>
        <pc:sldMkLst>
          <pc:docMk/>
          <pc:sldMk cId="2033576928" sldId="858"/>
        </pc:sldMkLst>
        <pc:spChg chg="mod">
          <ac:chgData name="Thomas Stensitzki" userId="75cafe6b-2f2a-469b-85c4-eec3b9c972ba" providerId="ADAL" clId="{BCC88A69-F5B9-4FD7-A4CC-C0C69A3C6A8A}" dt="2021-08-15T11:52:55.873" v="4066"/>
          <ac:spMkLst>
            <pc:docMk/>
            <pc:sldMk cId="2033576928" sldId="858"/>
            <ac:spMk id="2" creationId="{69000D3D-9111-46E8-9F70-D3D002673FEB}"/>
          </ac:spMkLst>
        </pc:spChg>
        <pc:spChg chg="mod">
          <ac:chgData name="Thomas Stensitzki" userId="75cafe6b-2f2a-469b-85c4-eec3b9c972ba" providerId="ADAL" clId="{BCC88A69-F5B9-4FD7-A4CC-C0C69A3C6A8A}" dt="2021-08-15T11:54:49.784" v="4160" actId="20577"/>
          <ac:spMkLst>
            <pc:docMk/>
            <pc:sldMk cId="2033576928" sldId="858"/>
            <ac:spMk id="3" creationId="{8B644EBE-042C-41E2-A7F1-B9E8CC7227D5}"/>
          </ac:spMkLst>
        </pc:spChg>
        <pc:spChg chg="mod">
          <ac:chgData name="Thomas Stensitzki" userId="75cafe6b-2f2a-469b-85c4-eec3b9c972ba" providerId="ADAL" clId="{BCC88A69-F5B9-4FD7-A4CC-C0C69A3C6A8A}" dt="2021-08-17T13:41:26.935" v="7549" actId="313"/>
          <ac:spMkLst>
            <pc:docMk/>
            <pc:sldMk cId="2033576928" sldId="858"/>
            <ac:spMk id="5" creationId="{358A4CFF-84C5-48AF-B6D6-F45F8713F7E7}"/>
          </ac:spMkLst>
        </pc:spChg>
      </pc:sldChg>
      <pc:sldChg chg="addSp delSp modSp new mod modAnim">
        <pc:chgData name="Thomas Stensitzki" userId="75cafe6b-2f2a-469b-85c4-eec3b9c972ba" providerId="ADAL" clId="{BCC88A69-F5B9-4FD7-A4CC-C0C69A3C6A8A}" dt="2021-08-17T13:43:06.259" v="7561" actId="14100"/>
        <pc:sldMkLst>
          <pc:docMk/>
          <pc:sldMk cId="46043747" sldId="859"/>
        </pc:sldMkLst>
        <pc:spChg chg="mod">
          <ac:chgData name="Thomas Stensitzki" userId="75cafe6b-2f2a-469b-85c4-eec3b9c972ba" providerId="ADAL" clId="{BCC88A69-F5B9-4FD7-A4CC-C0C69A3C6A8A}" dt="2021-08-15T12:00:12.199" v="4431" actId="20577"/>
          <ac:spMkLst>
            <pc:docMk/>
            <pc:sldMk cId="46043747" sldId="859"/>
            <ac:spMk id="2" creationId="{319D0798-831E-40B1-BDF4-52A1646207B0}"/>
          </ac:spMkLst>
        </pc:spChg>
        <pc:spChg chg="mod">
          <ac:chgData name="Thomas Stensitzki" userId="75cafe6b-2f2a-469b-85c4-eec3b9c972ba" providerId="ADAL" clId="{BCC88A69-F5B9-4FD7-A4CC-C0C69A3C6A8A}" dt="2021-08-15T11:59:56.969" v="4400" actId="20577"/>
          <ac:spMkLst>
            <pc:docMk/>
            <pc:sldMk cId="46043747" sldId="859"/>
            <ac:spMk id="3" creationId="{488437FC-0508-4723-98FC-DC9FC83C3A2E}"/>
          </ac:spMkLst>
        </pc:spChg>
        <pc:spChg chg="mod">
          <ac:chgData name="Thomas Stensitzki" userId="75cafe6b-2f2a-469b-85c4-eec3b9c972ba" providerId="ADAL" clId="{BCC88A69-F5B9-4FD7-A4CC-C0C69A3C6A8A}" dt="2021-08-17T13:42:20.644" v="7556" actId="313"/>
          <ac:spMkLst>
            <pc:docMk/>
            <pc:sldMk cId="46043747" sldId="859"/>
            <ac:spMk id="5" creationId="{F7155817-AEC3-4D1D-A984-04294C60FDE2}"/>
          </ac:spMkLst>
        </pc:spChg>
        <pc:picChg chg="add del mod">
          <ac:chgData name="Thomas Stensitzki" userId="75cafe6b-2f2a-469b-85c4-eec3b9c972ba" providerId="ADAL" clId="{BCC88A69-F5B9-4FD7-A4CC-C0C69A3C6A8A}" dt="2021-08-15T12:05:19.212" v="4842" actId="22"/>
          <ac:picMkLst>
            <pc:docMk/>
            <pc:sldMk cId="46043747" sldId="859"/>
            <ac:picMk id="7" creationId="{CD4A4539-3158-4F24-B42F-ECE2B5D5A86C}"/>
          </ac:picMkLst>
        </pc:picChg>
        <pc:picChg chg="add mod">
          <ac:chgData name="Thomas Stensitzki" userId="75cafe6b-2f2a-469b-85c4-eec3b9c972ba" providerId="ADAL" clId="{BCC88A69-F5B9-4FD7-A4CC-C0C69A3C6A8A}" dt="2021-08-17T13:43:06.259" v="7561" actId="14100"/>
          <ac:picMkLst>
            <pc:docMk/>
            <pc:sldMk cId="46043747" sldId="859"/>
            <ac:picMk id="9" creationId="{2AB86CE1-A305-4F54-A7DF-1F43675A6FB9}"/>
          </ac:picMkLst>
        </pc:picChg>
      </pc:sldChg>
      <pc:sldChg chg="addSp modSp new mod modAnim">
        <pc:chgData name="Thomas Stensitzki" userId="75cafe6b-2f2a-469b-85c4-eec3b9c972ba" providerId="ADAL" clId="{BCC88A69-F5B9-4FD7-A4CC-C0C69A3C6A8A}" dt="2021-08-17T13:44:04.878" v="7572" actId="20577"/>
        <pc:sldMkLst>
          <pc:docMk/>
          <pc:sldMk cId="1892765312" sldId="860"/>
        </pc:sldMkLst>
        <pc:spChg chg="mod">
          <ac:chgData name="Thomas Stensitzki" userId="75cafe6b-2f2a-469b-85c4-eec3b9c972ba" providerId="ADAL" clId="{BCC88A69-F5B9-4FD7-A4CC-C0C69A3C6A8A}" dt="2021-08-15T12:07:25.739" v="4893" actId="20577"/>
          <ac:spMkLst>
            <pc:docMk/>
            <pc:sldMk cId="1892765312" sldId="860"/>
            <ac:spMk id="2" creationId="{21928847-3B8B-4259-84FB-784D92DE6F4A}"/>
          </ac:spMkLst>
        </pc:spChg>
        <pc:spChg chg="mod">
          <ac:chgData name="Thomas Stensitzki" userId="75cafe6b-2f2a-469b-85c4-eec3b9c972ba" providerId="ADAL" clId="{BCC88A69-F5B9-4FD7-A4CC-C0C69A3C6A8A}" dt="2021-08-15T12:07:44.481" v="4930" actId="20577"/>
          <ac:spMkLst>
            <pc:docMk/>
            <pc:sldMk cId="1892765312" sldId="860"/>
            <ac:spMk id="3" creationId="{3934ABF6-7433-4E27-B879-5D02F0D80459}"/>
          </ac:spMkLst>
        </pc:spChg>
        <pc:spChg chg="mod">
          <ac:chgData name="Thomas Stensitzki" userId="75cafe6b-2f2a-469b-85c4-eec3b9c972ba" providerId="ADAL" clId="{BCC88A69-F5B9-4FD7-A4CC-C0C69A3C6A8A}" dt="2021-08-17T13:44:04.878" v="7572" actId="20577"/>
          <ac:spMkLst>
            <pc:docMk/>
            <pc:sldMk cId="1892765312" sldId="860"/>
            <ac:spMk id="5" creationId="{BC49296A-8B5C-4B4F-838A-740151F455D9}"/>
          </ac:spMkLst>
        </pc:spChg>
        <pc:picChg chg="add mod">
          <ac:chgData name="Thomas Stensitzki" userId="75cafe6b-2f2a-469b-85c4-eec3b9c972ba" providerId="ADAL" clId="{BCC88A69-F5B9-4FD7-A4CC-C0C69A3C6A8A}" dt="2021-08-15T12:18:35.406" v="5552" actId="1440"/>
          <ac:picMkLst>
            <pc:docMk/>
            <pc:sldMk cId="1892765312" sldId="860"/>
            <ac:picMk id="6" creationId="{75920FF8-DCAD-4DB1-9A8E-5A6257CE7EDB}"/>
          </ac:picMkLst>
        </pc:picChg>
        <pc:picChg chg="add mod">
          <ac:chgData name="Thomas Stensitzki" userId="75cafe6b-2f2a-469b-85c4-eec3b9c972ba" providerId="ADAL" clId="{BCC88A69-F5B9-4FD7-A4CC-C0C69A3C6A8A}" dt="2021-08-15T12:18:48.198" v="5555" actId="1076"/>
          <ac:picMkLst>
            <pc:docMk/>
            <pc:sldMk cId="1892765312" sldId="860"/>
            <ac:picMk id="7" creationId="{6B46D988-E6F8-4A5F-86D8-DC7D1D06D204}"/>
          </ac:picMkLst>
        </pc:picChg>
      </pc:sldChg>
      <pc:sldChg chg="addSp modSp new mod modAnim">
        <pc:chgData name="Thomas Stensitzki" userId="75cafe6b-2f2a-469b-85c4-eec3b9c972ba" providerId="ADAL" clId="{BCC88A69-F5B9-4FD7-A4CC-C0C69A3C6A8A}" dt="2021-08-17T13:46:14.993" v="7596" actId="1076"/>
        <pc:sldMkLst>
          <pc:docMk/>
          <pc:sldMk cId="2880972982" sldId="861"/>
        </pc:sldMkLst>
        <pc:spChg chg="mod">
          <ac:chgData name="Thomas Stensitzki" userId="75cafe6b-2f2a-469b-85c4-eec3b9c972ba" providerId="ADAL" clId="{BCC88A69-F5B9-4FD7-A4CC-C0C69A3C6A8A}" dt="2021-08-15T12:19:03.218" v="5557"/>
          <ac:spMkLst>
            <pc:docMk/>
            <pc:sldMk cId="2880972982" sldId="861"/>
            <ac:spMk id="2" creationId="{B9B693CB-427F-49CA-A2BB-A1A3DF3788B8}"/>
          </ac:spMkLst>
        </pc:spChg>
        <pc:spChg chg="mod">
          <ac:chgData name="Thomas Stensitzki" userId="75cafe6b-2f2a-469b-85c4-eec3b9c972ba" providerId="ADAL" clId="{BCC88A69-F5B9-4FD7-A4CC-C0C69A3C6A8A}" dt="2021-08-15T12:19:25.158" v="5610" actId="20577"/>
          <ac:spMkLst>
            <pc:docMk/>
            <pc:sldMk cId="2880972982" sldId="861"/>
            <ac:spMk id="3" creationId="{56A09441-BB00-44DE-841D-B1C147275782}"/>
          </ac:spMkLst>
        </pc:spChg>
        <pc:spChg chg="mod">
          <ac:chgData name="Thomas Stensitzki" userId="75cafe6b-2f2a-469b-85c4-eec3b9c972ba" providerId="ADAL" clId="{BCC88A69-F5B9-4FD7-A4CC-C0C69A3C6A8A}" dt="2021-08-15T12:48:57.229" v="6765" actId="20577"/>
          <ac:spMkLst>
            <pc:docMk/>
            <pc:sldMk cId="2880972982" sldId="861"/>
            <ac:spMk id="5" creationId="{200B56FE-3C0F-4F13-9C9A-92054C3E9F6C}"/>
          </ac:spMkLst>
        </pc:spChg>
        <pc:picChg chg="add mod">
          <ac:chgData name="Thomas Stensitzki" userId="75cafe6b-2f2a-469b-85c4-eec3b9c972ba" providerId="ADAL" clId="{BCC88A69-F5B9-4FD7-A4CC-C0C69A3C6A8A}" dt="2021-08-15T12:31:24.146" v="6015" actId="1440"/>
          <ac:picMkLst>
            <pc:docMk/>
            <pc:sldMk cId="2880972982" sldId="861"/>
            <ac:picMk id="6" creationId="{0AE056AD-E179-494A-835F-8DEBBFB54E08}"/>
          </ac:picMkLst>
        </pc:picChg>
        <pc:picChg chg="add mod">
          <ac:chgData name="Thomas Stensitzki" userId="75cafe6b-2f2a-469b-85c4-eec3b9c972ba" providerId="ADAL" clId="{BCC88A69-F5B9-4FD7-A4CC-C0C69A3C6A8A}" dt="2021-08-17T13:46:14.993" v="7596" actId="1076"/>
          <ac:picMkLst>
            <pc:docMk/>
            <pc:sldMk cId="2880972982" sldId="861"/>
            <ac:picMk id="7" creationId="{3F56B5B4-00D3-4E0C-B871-8BE70A68762E}"/>
          </ac:picMkLst>
        </pc:picChg>
        <pc:picChg chg="add mod">
          <ac:chgData name="Thomas Stensitzki" userId="75cafe6b-2f2a-469b-85c4-eec3b9c972ba" providerId="ADAL" clId="{BCC88A69-F5B9-4FD7-A4CC-C0C69A3C6A8A}" dt="2021-08-15T12:49:08.318" v="6768" actId="1440"/>
          <ac:picMkLst>
            <pc:docMk/>
            <pc:sldMk cId="2880972982" sldId="861"/>
            <ac:picMk id="9" creationId="{5A4F6FDC-B0CF-4810-A8BB-9764DD93B524}"/>
          </ac:picMkLst>
        </pc:picChg>
      </pc:sldChg>
      <pc:sldChg chg="modSp new mod modAnim">
        <pc:chgData name="Thomas Stensitzki" userId="75cafe6b-2f2a-469b-85c4-eec3b9c972ba" providerId="ADAL" clId="{BCC88A69-F5B9-4FD7-A4CC-C0C69A3C6A8A}" dt="2021-08-17T13:46:25.030" v="7598"/>
        <pc:sldMkLst>
          <pc:docMk/>
          <pc:sldMk cId="1828100707" sldId="862"/>
        </pc:sldMkLst>
        <pc:spChg chg="mod">
          <ac:chgData name="Thomas Stensitzki" userId="75cafe6b-2f2a-469b-85c4-eec3b9c972ba" providerId="ADAL" clId="{BCC88A69-F5B9-4FD7-A4CC-C0C69A3C6A8A}" dt="2021-08-15T12:37:02.407" v="6047" actId="20577"/>
          <ac:spMkLst>
            <pc:docMk/>
            <pc:sldMk cId="1828100707" sldId="862"/>
            <ac:spMk id="2" creationId="{D80AE142-03AD-4A06-972F-B75BF623F05F}"/>
          </ac:spMkLst>
        </pc:spChg>
        <pc:spChg chg="mod">
          <ac:chgData name="Thomas Stensitzki" userId="75cafe6b-2f2a-469b-85c4-eec3b9c972ba" providerId="ADAL" clId="{BCC88A69-F5B9-4FD7-A4CC-C0C69A3C6A8A}" dt="2021-08-15T12:37:34.038" v="6064" actId="6549"/>
          <ac:spMkLst>
            <pc:docMk/>
            <pc:sldMk cId="1828100707" sldId="862"/>
            <ac:spMk id="3" creationId="{02F7B495-BDA0-40C7-9C41-A3DC86A2706F}"/>
          </ac:spMkLst>
        </pc:spChg>
        <pc:spChg chg="mod">
          <ac:chgData name="Thomas Stensitzki" userId="75cafe6b-2f2a-469b-85c4-eec3b9c972ba" providerId="ADAL" clId="{BCC88A69-F5B9-4FD7-A4CC-C0C69A3C6A8A}" dt="2021-08-15T12:42:33.344" v="6302" actId="6549"/>
          <ac:spMkLst>
            <pc:docMk/>
            <pc:sldMk cId="1828100707" sldId="862"/>
            <ac:spMk id="5" creationId="{C03D807C-2916-4113-822B-0694097C8A5F}"/>
          </ac:spMkLst>
        </pc:spChg>
      </pc:sldChg>
      <pc:sldChg chg="modSp new mod modAnim">
        <pc:chgData name="Thomas Stensitzki" userId="75cafe6b-2f2a-469b-85c4-eec3b9c972ba" providerId="ADAL" clId="{BCC88A69-F5B9-4FD7-A4CC-C0C69A3C6A8A}" dt="2021-08-17T13:47:03.242" v="7602"/>
        <pc:sldMkLst>
          <pc:docMk/>
          <pc:sldMk cId="3334400858" sldId="863"/>
        </pc:sldMkLst>
        <pc:spChg chg="mod">
          <ac:chgData name="Thomas Stensitzki" userId="75cafe6b-2f2a-469b-85c4-eec3b9c972ba" providerId="ADAL" clId="{BCC88A69-F5B9-4FD7-A4CC-C0C69A3C6A8A}" dt="2021-08-15T12:42:49.990" v="6304"/>
          <ac:spMkLst>
            <pc:docMk/>
            <pc:sldMk cId="3334400858" sldId="863"/>
            <ac:spMk id="2" creationId="{6D5C21A2-C1B6-4059-B87F-74C83634ED19}"/>
          </ac:spMkLst>
        </pc:spChg>
        <pc:spChg chg="mod">
          <ac:chgData name="Thomas Stensitzki" userId="75cafe6b-2f2a-469b-85c4-eec3b9c972ba" providerId="ADAL" clId="{BCC88A69-F5B9-4FD7-A4CC-C0C69A3C6A8A}" dt="2021-08-15T12:43:07.348" v="6348" actId="20577"/>
          <ac:spMkLst>
            <pc:docMk/>
            <pc:sldMk cId="3334400858" sldId="863"/>
            <ac:spMk id="3" creationId="{4C1B43E4-916F-49D8-93A7-22148F3C3762}"/>
          </ac:spMkLst>
        </pc:spChg>
        <pc:spChg chg="mod">
          <ac:chgData name="Thomas Stensitzki" userId="75cafe6b-2f2a-469b-85c4-eec3b9c972ba" providerId="ADAL" clId="{BCC88A69-F5B9-4FD7-A4CC-C0C69A3C6A8A}" dt="2021-08-15T12:45:29.689" v="6556" actId="20577"/>
          <ac:spMkLst>
            <pc:docMk/>
            <pc:sldMk cId="3334400858" sldId="863"/>
            <ac:spMk id="5" creationId="{D9F9DE17-DE8A-4A7D-815C-D38608BBF301}"/>
          </ac:spMkLst>
        </pc:spChg>
      </pc:sldChg>
      <pc:sldChg chg="addSp modSp new mod modAnim">
        <pc:chgData name="Thomas Stensitzki" userId="75cafe6b-2f2a-469b-85c4-eec3b9c972ba" providerId="ADAL" clId="{BCC88A69-F5B9-4FD7-A4CC-C0C69A3C6A8A}" dt="2021-08-17T13:47:51.522" v="7610" actId="114"/>
        <pc:sldMkLst>
          <pc:docMk/>
          <pc:sldMk cId="917000523" sldId="864"/>
        </pc:sldMkLst>
        <pc:spChg chg="mod">
          <ac:chgData name="Thomas Stensitzki" userId="75cafe6b-2f2a-469b-85c4-eec3b9c972ba" providerId="ADAL" clId="{BCC88A69-F5B9-4FD7-A4CC-C0C69A3C6A8A}" dt="2021-08-15T12:45:43.973" v="6558"/>
          <ac:spMkLst>
            <pc:docMk/>
            <pc:sldMk cId="917000523" sldId="864"/>
            <ac:spMk id="2" creationId="{B73BA895-DAFF-43DF-B572-F1742D53D7A7}"/>
          </ac:spMkLst>
        </pc:spChg>
        <pc:spChg chg="mod">
          <ac:chgData name="Thomas Stensitzki" userId="75cafe6b-2f2a-469b-85c4-eec3b9c972ba" providerId="ADAL" clId="{BCC88A69-F5B9-4FD7-A4CC-C0C69A3C6A8A}" dt="2021-08-15T12:45:52.682" v="6586" actId="20577"/>
          <ac:spMkLst>
            <pc:docMk/>
            <pc:sldMk cId="917000523" sldId="864"/>
            <ac:spMk id="3" creationId="{25A840FB-FC68-4869-BCAB-0EBFE0930C64}"/>
          </ac:spMkLst>
        </pc:spChg>
        <pc:spChg chg="mod">
          <ac:chgData name="Thomas Stensitzki" userId="75cafe6b-2f2a-469b-85c4-eec3b9c972ba" providerId="ADAL" clId="{BCC88A69-F5B9-4FD7-A4CC-C0C69A3C6A8A}" dt="2021-08-17T13:47:51.522" v="7610" actId="114"/>
          <ac:spMkLst>
            <pc:docMk/>
            <pc:sldMk cId="917000523" sldId="864"/>
            <ac:spMk id="5" creationId="{D491388B-1736-478D-946E-F2C933ECED53}"/>
          </ac:spMkLst>
        </pc:spChg>
        <pc:picChg chg="add mod">
          <ac:chgData name="Thomas Stensitzki" userId="75cafe6b-2f2a-469b-85c4-eec3b9c972ba" providerId="ADAL" clId="{BCC88A69-F5B9-4FD7-A4CC-C0C69A3C6A8A}" dt="2021-08-15T12:51:19.006" v="6867" actId="1440"/>
          <ac:picMkLst>
            <pc:docMk/>
            <pc:sldMk cId="917000523" sldId="864"/>
            <ac:picMk id="7" creationId="{2A06A822-4199-4D8C-AEA0-64757517032C}"/>
          </ac:picMkLst>
        </pc:picChg>
      </pc:sldChg>
      <pc:sldChg chg="modSp add mod modShow">
        <pc:chgData name="Thomas Stensitzki" userId="75cafe6b-2f2a-469b-85c4-eec3b9c972ba" providerId="ADAL" clId="{BCC88A69-F5B9-4FD7-A4CC-C0C69A3C6A8A}" dt="2021-08-15T12:50:04.739" v="6830" actId="6549"/>
        <pc:sldMkLst>
          <pc:docMk/>
          <pc:sldMk cId="1049887620" sldId="865"/>
        </pc:sldMkLst>
        <pc:spChg chg="mod">
          <ac:chgData name="Thomas Stensitzki" userId="75cafe6b-2f2a-469b-85c4-eec3b9c972ba" providerId="ADAL" clId="{BCC88A69-F5B9-4FD7-A4CC-C0C69A3C6A8A}" dt="2021-08-15T12:50:04.739" v="6830" actId="6549"/>
          <ac:spMkLst>
            <pc:docMk/>
            <pc:sldMk cId="1049887620" sldId="865"/>
            <ac:spMk id="5" creationId="{D491388B-1736-478D-946E-F2C933ECED53}"/>
          </ac:spMkLst>
        </pc:spChg>
      </pc:sldChg>
      <pc:sldChg chg="modSp new mod modAnim">
        <pc:chgData name="Thomas Stensitzki" userId="75cafe6b-2f2a-469b-85c4-eec3b9c972ba" providerId="ADAL" clId="{BCC88A69-F5B9-4FD7-A4CC-C0C69A3C6A8A}" dt="2021-08-17T13:48:52.211" v="7615"/>
        <pc:sldMkLst>
          <pc:docMk/>
          <pc:sldMk cId="2886325458" sldId="866"/>
        </pc:sldMkLst>
        <pc:spChg chg="mod">
          <ac:chgData name="Thomas Stensitzki" userId="75cafe6b-2f2a-469b-85c4-eec3b9c972ba" providerId="ADAL" clId="{BCC88A69-F5B9-4FD7-A4CC-C0C69A3C6A8A}" dt="2021-08-15T12:52:51.370" v="6958" actId="20577"/>
          <ac:spMkLst>
            <pc:docMk/>
            <pc:sldMk cId="2886325458" sldId="866"/>
            <ac:spMk id="2" creationId="{5FD94CE4-6E4F-4CD1-BD64-2CC75864D71A}"/>
          </ac:spMkLst>
        </pc:spChg>
        <pc:spChg chg="mod">
          <ac:chgData name="Thomas Stensitzki" userId="75cafe6b-2f2a-469b-85c4-eec3b9c972ba" providerId="ADAL" clId="{BCC88A69-F5B9-4FD7-A4CC-C0C69A3C6A8A}" dt="2021-08-15T12:59:15.245" v="7272" actId="20577"/>
          <ac:spMkLst>
            <pc:docMk/>
            <pc:sldMk cId="2886325458" sldId="866"/>
            <ac:spMk id="5" creationId="{CED15360-5875-4783-A2C1-B6E8E7DA2D31}"/>
          </ac:spMkLst>
        </pc:spChg>
      </pc:sldChg>
      <pc:sldChg chg="addSp modSp new mod modAnim">
        <pc:chgData name="Thomas Stensitzki" userId="75cafe6b-2f2a-469b-85c4-eec3b9c972ba" providerId="ADAL" clId="{BCC88A69-F5B9-4FD7-A4CC-C0C69A3C6A8A}" dt="2021-08-21T09:43:18.861" v="7688" actId="113"/>
        <pc:sldMkLst>
          <pc:docMk/>
          <pc:sldMk cId="2218622149" sldId="867"/>
        </pc:sldMkLst>
        <pc:spChg chg="mod">
          <ac:chgData name="Thomas Stensitzki" userId="75cafe6b-2f2a-469b-85c4-eec3b9c972ba" providerId="ADAL" clId="{BCC88A69-F5B9-4FD7-A4CC-C0C69A3C6A8A}" dt="2021-08-15T12:59:43.411" v="7325" actId="20577"/>
          <ac:spMkLst>
            <pc:docMk/>
            <pc:sldMk cId="2218622149" sldId="867"/>
            <ac:spMk id="2" creationId="{ADFF9246-0BE7-482F-AD40-F1451807AC03}"/>
          </ac:spMkLst>
        </pc:spChg>
        <pc:spChg chg="mod">
          <ac:chgData name="Thomas Stensitzki" userId="75cafe6b-2f2a-469b-85c4-eec3b9c972ba" providerId="ADAL" clId="{BCC88A69-F5B9-4FD7-A4CC-C0C69A3C6A8A}" dt="2021-08-15T12:59:49.134" v="7337" actId="20577"/>
          <ac:spMkLst>
            <pc:docMk/>
            <pc:sldMk cId="2218622149" sldId="867"/>
            <ac:spMk id="3" creationId="{DC8D65D1-B30F-43C1-8553-42FBD0888B94}"/>
          </ac:spMkLst>
        </pc:spChg>
        <pc:spChg chg="mod">
          <ac:chgData name="Thomas Stensitzki" userId="75cafe6b-2f2a-469b-85c4-eec3b9c972ba" providerId="ADAL" clId="{BCC88A69-F5B9-4FD7-A4CC-C0C69A3C6A8A}" dt="2021-08-21T09:43:18.861" v="7688" actId="113"/>
          <ac:spMkLst>
            <pc:docMk/>
            <pc:sldMk cId="2218622149" sldId="867"/>
            <ac:spMk id="5" creationId="{C78CABEF-9819-40AB-B030-3FE6D0882FBB}"/>
          </ac:spMkLst>
        </pc:spChg>
        <pc:spChg chg="add mod">
          <ac:chgData name="Thomas Stensitzki" userId="75cafe6b-2f2a-469b-85c4-eec3b9c972ba" providerId="ADAL" clId="{BCC88A69-F5B9-4FD7-A4CC-C0C69A3C6A8A}" dt="2021-08-15T13:13:36.322" v="7438" actId="1076"/>
          <ac:spMkLst>
            <pc:docMk/>
            <pc:sldMk cId="2218622149" sldId="867"/>
            <ac:spMk id="7" creationId="{EEBB8EFD-8538-4C9E-8F8E-FC0C4FCA01EA}"/>
          </ac:spMkLst>
        </pc:spChg>
        <pc:picChg chg="add mod">
          <ac:chgData name="Thomas Stensitzki" userId="75cafe6b-2f2a-469b-85c4-eec3b9c972ba" providerId="ADAL" clId="{BCC88A69-F5B9-4FD7-A4CC-C0C69A3C6A8A}" dt="2021-08-15T13:13:36.322" v="7438" actId="1076"/>
          <ac:picMkLst>
            <pc:docMk/>
            <pc:sldMk cId="2218622149" sldId="867"/>
            <ac:picMk id="6" creationId="{C00832BE-E3C1-40A7-9DF9-65149DF2B218}"/>
          </ac:picMkLst>
        </pc:picChg>
      </pc:sldChg>
      <pc:sldChg chg="modSp add mod ord">
        <pc:chgData name="Thomas Stensitzki" userId="75cafe6b-2f2a-469b-85c4-eec3b9c972ba" providerId="ADAL" clId="{BCC88A69-F5B9-4FD7-A4CC-C0C69A3C6A8A}" dt="2021-08-17T13:50:58.201" v="7678" actId="114"/>
        <pc:sldMkLst>
          <pc:docMk/>
          <pc:sldMk cId="4095505596" sldId="868"/>
        </pc:sldMkLst>
        <pc:spChg chg="mod">
          <ac:chgData name="Thomas Stensitzki" userId="75cafe6b-2f2a-469b-85c4-eec3b9c972ba" providerId="ADAL" clId="{BCC88A69-F5B9-4FD7-A4CC-C0C69A3C6A8A}" dt="2021-08-17T13:50:58.201" v="7678" actId="114"/>
          <ac:spMkLst>
            <pc:docMk/>
            <pc:sldMk cId="4095505596" sldId="868"/>
            <ac:spMk id="2" creationId="{00000000-0000-0000-0000-000000000000}"/>
          </ac:spMkLst>
        </pc:spChg>
      </pc:sldChg>
      <pc:sldChg chg="add">
        <pc:chgData name="Thomas Stensitzki" userId="75cafe6b-2f2a-469b-85c4-eec3b9c972ba" providerId="ADAL" clId="{BCC88A69-F5B9-4FD7-A4CC-C0C69A3C6A8A}" dt="2021-08-21T09:40:35.531" v="7686"/>
        <pc:sldMkLst>
          <pc:docMk/>
          <pc:sldMk cId="1285024990" sldId="869"/>
        </pc:sldMkLst>
      </pc:sldChg>
      <pc:sldMasterChg chg="delSldLayout">
        <pc:chgData name="Thomas Stensitzki" userId="75cafe6b-2f2a-469b-85c4-eec3b9c972ba" providerId="ADAL" clId="{BCC88A69-F5B9-4FD7-A4CC-C0C69A3C6A8A}" dt="2021-08-15T10:16:52.543" v="448" actId="47"/>
        <pc:sldMasterMkLst>
          <pc:docMk/>
          <pc:sldMasterMk cId="1187222015" sldId="2147483673"/>
        </pc:sldMasterMkLst>
        <pc:sldLayoutChg chg="del">
          <pc:chgData name="Thomas Stensitzki" userId="75cafe6b-2f2a-469b-85c4-eec3b9c972ba" providerId="ADAL" clId="{BCC88A69-F5B9-4FD7-A4CC-C0C69A3C6A8A}" dt="2021-08-15T10:16:52.543" v="448" actId="47"/>
          <pc:sldLayoutMkLst>
            <pc:docMk/>
            <pc:sldMasterMk cId="1187222015" sldId="2147483673"/>
            <pc:sldLayoutMk cId="1294034411" sldId="2147483700"/>
          </pc:sldLayoutMkLst>
        </pc:sldLayoutChg>
      </pc:sldMasterChg>
      <pc:sldMasterChg chg="delSp mod modSldLayout">
        <pc:chgData name="Thomas Stensitzki" userId="75cafe6b-2f2a-469b-85c4-eec3b9c972ba" providerId="ADAL" clId="{BCC88A69-F5B9-4FD7-A4CC-C0C69A3C6A8A}" dt="2021-08-17T08:29:32.462" v="7444" actId="478"/>
        <pc:sldMasterMkLst>
          <pc:docMk/>
          <pc:sldMasterMk cId="540365645" sldId="2147483711"/>
        </pc:sldMasterMkLst>
        <pc:spChg chg="del">
          <ac:chgData name="Thomas Stensitzki" userId="75cafe6b-2f2a-469b-85c4-eec3b9c972ba" providerId="ADAL" clId="{BCC88A69-F5B9-4FD7-A4CC-C0C69A3C6A8A}" dt="2021-08-17T08:29:32.462" v="7444" actId="478"/>
          <ac:spMkLst>
            <pc:docMk/>
            <pc:sldMasterMk cId="540365645" sldId="2147483711"/>
            <ac:spMk id="5" creationId="{00000000-0000-0000-0000-000000000000}"/>
          </ac:spMkLst>
        </pc:spChg>
        <pc:sldLayoutChg chg="modSp">
          <pc:chgData name="Thomas Stensitzki" userId="75cafe6b-2f2a-469b-85c4-eec3b9c972ba" providerId="ADAL" clId="{BCC88A69-F5B9-4FD7-A4CC-C0C69A3C6A8A}" dt="2021-08-15T10:34:49.283" v="1436" actId="2711"/>
          <pc:sldLayoutMkLst>
            <pc:docMk/>
            <pc:sldMasterMk cId="540365645" sldId="2147483711"/>
            <pc:sldLayoutMk cId="2935539589" sldId="2147483714"/>
          </pc:sldLayoutMkLst>
          <pc:spChg chg="mod">
            <ac:chgData name="Thomas Stensitzki" userId="75cafe6b-2f2a-469b-85c4-eec3b9c972ba" providerId="ADAL" clId="{BCC88A69-F5B9-4FD7-A4CC-C0C69A3C6A8A}" dt="2021-08-15T10:34:49.283" v="1436" actId="2711"/>
            <ac:spMkLst>
              <pc:docMk/>
              <pc:sldMasterMk cId="540365645" sldId="2147483711"/>
              <pc:sldLayoutMk cId="2935539589" sldId="2147483714"/>
              <ac:spMk id="13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2:41.924" v="1422" actId="2711"/>
            <ac:spMkLst>
              <pc:docMk/>
              <pc:sldMasterMk cId="540365645" sldId="2147483711"/>
              <pc:sldLayoutMk cId="2935539589" sldId="2147483714"/>
              <ac:spMk id="17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2:26.509" v="1421" actId="255"/>
            <ac:spMkLst>
              <pc:docMk/>
              <pc:sldMasterMk cId="540365645" sldId="2147483711"/>
              <pc:sldLayoutMk cId="2935539589" sldId="2147483714"/>
              <ac:spMk id="22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BCC88A69-F5B9-4FD7-A4CC-C0C69A3C6A8A}" dt="2021-08-17T08:29:09.783" v="7442" actId="478"/>
          <pc:sldLayoutMkLst>
            <pc:docMk/>
            <pc:sldMasterMk cId="540365645" sldId="2147483711"/>
            <pc:sldLayoutMk cId="2634740360" sldId="2147483715"/>
          </pc:sldLayoutMkLst>
          <pc:spChg chg="mod">
            <ac:chgData name="Thomas Stensitzki" userId="75cafe6b-2f2a-469b-85c4-eec3b9c972ba" providerId="ADAL" clId="{BCC88A69-F5B9-4FD7-A4CC-C0C69A3C6A8A}" dt="2021-08-15T10:34:09.531" v="1432" actId="2711"/>
            <ac:spMkLst>
              <pc:docMk/>
              <pc:sldMasterMk cId="540365645" sldId="2147483711"/>
              <pc:sldLayoutMk cId="2634740360" sldId="2147483715"/>
              <ac:spMk id="13" creationId="{00000000-0000-0000-0000-000000000000}"/>
            </ac:spMkLst>
          </pc:spChg>
          <pc:spChg chg="del">
            <ac:chgData name="Thomas Stensitzki" userId="75cafe6b-2f2a-469b-85c4-eec3b9c972ba" providerId="ADAL" clId="{BCC88A69-F5B9-4FD7-A4CC-C0C69A3C6A8A}" dt="2021-08-17T08:29:09.783" v="7442" actId="478"/>
            <ac:spMkLst>
              <pc:docMk/>
              <pc:sldMasterMk cId="540365645" sldId="2147483711"/>
              <pc:sldLayoutMk cId="2634740360" sldId="2147483715"/>
              <ac:spMk id="14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1:49.661" v="1417" actId="2711"/>
            <ac:spMkLst>
              <pc:docMk/>
              <pc:sldMasterMk cId="540365645" sldId="2147483711"/>
              <pc:sldLayoutMk cId="2634740360" sldId="2147483715"/>
              <ac:spMk id="17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2:08.601" v="1419" actId="255"/>
            <ac:spMkLst>
              <pc:docMk/>
              <pc:sldMasterMk cId="540365645" sldId="2147483711"/>
              <pc:sldLayoutMk cId="2634740360" sldId="2147483715"/>
              <ac:spMk id="22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BCC88A69-F5B9-4FD7-A4CC-C0C69A3C6A8A}" dt="2021-08-17T08:29:11.962" v="7443" actId="478"/>
          <pc:sldLayoutMkLst>
            <pc:docMk/>
            <pc:sldMasterMk cId="540365645" sldId="2147483711"/>
            <pc:sldLayoutMk cId="1676426682" sldId="2147483716"/>
          </pc:sldLayoutMkLst>
          <pc:spChg chg="mod">
            <ac:chgData name="Thomas Stensitzki" userId="75cafe6b-2f2a-469b-85c4-eec3b9c972ba" providerId="ADAL" clId="{BCC88A69-F5B9-4FD7-A4CC-C0C69A3C6A8A}" dt="2021-08-15T10:32:59.965" v="1425" actId="2711"/>
            <ac:spMkLst>
              <pc:docMk/>
              <pc:sldMasterMk cId="540365645" sldId="2147483711"/>
              <pc:sldLayoutMk cId="1676426682" sldId="2147483716"/>
              <ac:spMk id="14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3:02.570" v="1426" actId="2711"/>
            <ac:spMkLst>
              <pc:docMk/>
              <pc:sldMasterMk cId="540365645" sldId="2147483711"/>
              <pc:sldLayoutMk cId="1676426682" sldId="2147483716"/>
              <ac:spMk id="15" creationId="{00000000-0000-0000-0000-000000000000}"/>
            </ac:spMkLst>
          </pc:spChg>
          <pc:spChg chg="del">
            <ac:chgData name="Thomas Stensitzki" userId="75cafe6b-2f2a-469b-85c4-eec3b9c972ba" providerId="ADAL" clId="{BCC88A69-F5B9-4FD7-A4CC-C0C69A3C6A8A}" dt="2021-08-17T08:29:11.962" v="7443" actId="478"/>
            <ac:spMkLst>
              <pc:docMk/>
              <pc:sldMasterMk cId="540365645" sldId="2147483711"/>
              <pc:sldLayoutMk cId="1676426682" sldId="2147483716"/>
              <ac:spMk id="16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2:53.002" v="1424" actId="255"/>
            <ac:spMkLst>
              <pc:docMk/>
              <pc:sldMasterMk cId="540365645" sldId="2147483711"/>
              <pc:sldLayoutMk cId="1676426682" sldId="2147483716"/>
              <ac:spMk id="22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BCC88A69-F5B9-4FD7-A4CC-C0C69A3C6A8A}" dt="2021-08-17T08:29:07.439" v="7441" actId="478"/>
          <pc:sldLayoutMkLst>
            <pc:docMk/>
            <pc:sldMasterMk cId="540365645" sldId="2147483711"/>
            <pc:sldLayoutMk cId="2852918743" sldId="2147483717"/>
          </pc:sldLayoutMkLst>
          <pc:spChg chg="mod">
            <ac:chgData name="Thomas Stensitzki" userId="75cafe6b-2f2a-469b-85c4-eec3b9c972ba" providerId="ADAL" clId="{BCC88A69-F5B9-4FD7-A4CC-C0C69A3C6A8A}" dt="2021-08-15T10:33:07.214" v="1427" actId="2711"/>
            <ac:spMkLst>
              <pc:docMk/>
              <pc:sldMasterMk cId="540365645" sldId="2147483711"/>
              <pc:sldLayoutMk cId="2852918743" sldId="2147483717"/>
              <ac:spMk id="14" creationId="{00000000-0000-0000-0000-000000000000}"/>
            </ac:spMkLst>
          </pc:spChg>
          <pc:spChg chg="del">
            <ac:chgData name="Thomas Stensitzki" userId="75cafe6b-2f2a-469b-85c4-eec3b9c972ba" providerId="ADAL" clId="{BCC88A69-F5B9-4FD7-A4CC-C0C69A3C6A8A}" dt="2021-08-17T08:29:07.439" v="7441" actId="478"/>
            <ac:spMkLst>
              <pc:docMk/>
              <pc:sldMasterMk cId="540365645" sldId="2147483711"/>
              <pc:sldLayoutMk cId="2852918743" sldId="2147483717"/>
              <ac:spMk id="16" creationId="{00000000-0000-0000-0000-000000000000}"/>
            </ac:spMkLst>
          </pc:spChg>
          <pc:spChg chg="mod">
            <ac:chgData name="Thomas Stensitzki" userId="75cafe6b-2f2a-469b-85c4-eec3b9c972ba" providerId="ADAL" clId="{BCC88A69-F5B9-4FD7-A4CC-C0C69A3C6A8A}" dt="2021-08-15T10:33:20.305" v="1429" actId="255"/>
            <ac:spMkLst>
              <pc:docMk/>
              <pc:sldMasterMk cId="540365645" sldId="2147483711"/>
              <pc:sldLayoutMk cId="2852918743" sldId="2147483717"/>
              <ac:spMk id="22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BCC88A69-F5B9-4FD7-A4CC-C0C69A3C6A8A}" dt="2021-08-17T08:28:59.134" v="7439" actId="478"/>
          <pc:sldLayoutMkLst>
            <pc:docMk/>
            <pc:sldMasterMk cId="540365645" sldId="2147483711"/>
            <pc:sldLayoutMk cId="2024168438" sldId="2147483718"/>
          </pc:sldLayoutMkLst>
          <pc:spChg chg="mod">
            <ac:chgData name="Thomas Stensitzki" userId="75cafe6b-2f2a-469b-85c4-eec3b9c972ba" providerId="ADAL" clId="{BCC88A69-F5B9-4FD7-A4CC-C0C69A3C6A8A}" dt="2021-08-15T10:39:47.437" v="1761" actId="255"/>
            <ac:spMkLst>
              <pc:docMk/>
              <pc:sldMasterMk cId="540365645" sldId="2147483711"/>
              <pc:sldLayoutMk cId="2024168438" sldId="2147483718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BCC88A69-F5B9-4FD7-A4CC-C0C69A3C6A8A}" dt="2021-08-17T08:28:59.134" v="7439" actId="478"/>
            <ac:spMkLst>
              <pc:docMk/>
              <pc:sldMasterMk cId="540365645" sldId="2147483711"/>
              <pc:sldLayoutMk cId="2024168438" sldId="2147483718"/>
              <ac:spMk id="11" creationId="{00000000-0000-0000-0000-000000000000}"/>
            </ac:spMkLst>
          </pc:spChg>
        </pc:sldLayoutChg>
        <pc:sldLayoutChg chg="delSp mod">
          <pc:chgData name="Thomas Stensitzki" userId="75cafe6b-2f2a-469b-85c4-eec3b9c972ba" providerId="ADAL" clId="{BCC88A69-F5B9-4FD7-A4CC-C0C69A3C6A8A}" dt="2021-08-17T08:29:03.922" v="7440" actId="478"/>
          <pc:sldLayoutMkLst>
            <pc:docMk/>
            <pc:sldMasterMk cId="540365645" sldId="2147483711"/>
            <pc:sldLayoutMk cId="603869843" sldId="2147483719"/>
          </pc:sldLayoutMkLst>
          <pc:spChg chg="del">
            <ac:chgData name="Thomas Stensitzki" userId="75cafe6b-2f2a-469b-85c4-eec3b9c972ba" providerId="ADAL" clId="{BCC88A69-F5B9-4FD7-A4CC-C0C69A3C6A8A}" dt="2021-08-17T08:29:03.922" v="7440" actId="478"/>
            <ac:spMkLst>
              <pc:docMk/>
              <pc:sldMasterMk cId="540365645" sldId="2147483711"/>
              <pc:sldLayoutMk cId="603869843" sldId="2147483719"/>
              <ac:spMk id="8" creationId="{00000000-0000-0000-0000-000000000000}"/>
            </ac:spMkLst>
          </pc:spChg>
        </pc:sldLayoutChg>
      </pc:sldMasterChg>
      <pc:sldMasterChg chg="delSldLayout">
        <pc:chgData name="Thomas Stensitzki" userId="75cafe6b-2f2a-469b-85c4-eec3b9c972ba" providerId="ADAL" clId="{BCC88A69-F5B9-4FD7-A4CC-C0C69A3C6A8A}" dt="2021-08-15T10:16:52.543" v="448" actId="47"/>
        <pc:sldMasterMkLst>
          <pc:docMk/>
          <pc:sldMasterMk cId="1129742936" sldId="2147483731"/>
        </pc:sldMasterMkLst>
        <pc:sldLayoutChg chg="del">
          <pc:chgData name="Thomas Stensitzki" userId="75cafe6b-2f2a-469b-85c4-eec3b9c972ba" providerId="ADAL" clId="{BCC88A69-F5B9-4FD7-A4CC-C0C69A3C6A8A}" dt="2021-08-15T10:16:52.543" v="448" actId="47"/>
          <pc:sldLayoutMkLst>
            <pc:docMk/>
            <pc:sldMasterMk cId="1129742936" sldId="2147483731"/>
            <pc:sldLayoutMk cId="2035049053" sldId="2147483734"/>
          </pc:sldLayoutMkLst>
        </pc:sldLayoutChg>
      </pc:sldMasterChg>
      <pc:sldMasterChg chg="delSldLayout">
        <pc:chgData name="Thomas Stensitzki" userId="75cafe6b-2f2a-469b-85c4-eec3b9c972ba" providerId="ADAL" clId="{BCC88A69-F5B9-4FD7-A4CC-C0C69A3C6A8A}" dt="2021-08-15T10:16:52.543" v="448" actId="47"/>
        <pc:sldMasterMkLst>
          <pc:docMk/>
          <pc:sldMasterMk cId="3630494623" sldId="2147483735"/>
        </pc:sldMasterMkLst>
        <pc:sldLayoutChg chg="del">
          <pc:chgData name="Thomas Stensitzki" userId="75cafe6b-2f2a-469b-85c4-eec3b9c972ba" providerId="ADAL" clId="{BCC88A69-F5B9-4FD7-A4CC-C0C69A3C6A8A}" dt="2021-08-15T10:16:52.543" v="448" actId="47"/>
          <pc:sldLayoutMkLst>
            <pc:docMk/>
            <pc:sldMasterMk cId="3630494623" sldId="2147483735"/>
            <pc:sldLayoutMk cId="2157087952" sldId="2147483738"/>
          </pc:sldLayoutMkLst>
        </pc:sldLayoutChg>
      </pc:sldMasterChg>
      <pc:sldMasterChg chg="delSldLayout">
        <pc:chgData name="Thomas Stensitzki" userId="75cafe6b-2f2a-469b-85c4-eec3b9c972ba" providerId="ADAL" clId="{BCC88A69-F5B9-4FD7-A4CC-C0C69A3C6A8A}" dt="2021-08-15T10:16:52.543" v="448" actId="47"/>
        <pc:sldMasterMkLst>
          <pc:docMk/>
          <pc:sldMasterMk cId="331560940" sldId="2147483739"/>
        </pc:sldMasterMkLst>
        <pc:sldLayoutChg chg="del">
          <pc:chgData name="Thomas Stensitzki" userId="75cafe6b-2f2a-469b-85c4-eec3b9c972ba" providerId="ADAL" clId="{BCC88A69-F5B9-4FD7-A4CC-C0C69A3C6A8A}" dt="2021-08-15T10:16:52.543" v="448" actId="47"/>
          <pc:sldLayoutMkLst>
            <pc:docMk/>
            <pc:sldMasterMk cId="331560940" sldId="2147483739"/>
            <pc:sldLayoutMk cId="1801372163" sldId="214748374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0B8FC-714E-48A2-8E44-56D25F758704}" type="datetimeFigureOut">
              <a:rPr lang="de-DE" smtClean="0"/>
              <a:t>21.08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A0638-1204-433B-84FC-523B5B170F5E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85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21.08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400" y="744538"/>
            <a:ext cx="661828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8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35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69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6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487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809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00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2890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Online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PowerShell Modu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-MsolServicePrincipal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| ?{$_.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playName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like '*Exchange*'} |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ort-Object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playName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t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playName,Addresses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58697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011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6530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6545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35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35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141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9049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37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37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711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2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2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830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517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689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082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49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1085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388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494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rgbClr val="8D9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2" name="Gruppieren 11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4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7" name="Rechteck 16"/>
            <p:cNvSpPr/>
            <p:nvPr userDrawn="1"/>
          </p:nvSpPr>
          <p:spPr>
            <a:xfrm>
              <a:off x="-12137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4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6DF0B11-E224-42A4-80D6-3098FA3EBB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3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3" name="Rechteck 12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4" name="Gruppieren 13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5" name="Rechteck 14"/>
            <p:cNvSpPr/>
            <p:nvPr userDrawn="1"/>
          </p:nvSpPr>
          <p:spPr>
            <a:xfrm>
              <a:off x="0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9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20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66C0FC-CAB3-4344-BDB4-EE734BE529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5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12138" y="0"/>
            <a:ext cx="12864360" cy="6858000"/>
            <a:chOff x="-12138" y="0"/>
            <a:chExt cx="12864360" cy="6858000"/>
          </a:xfrm>
        </p:grpSpPr>
        <p:sp>
          <p:nvSpPr>
            <p:cNvPr id="30" name="Rechteck 29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3" name="Gruppieren 22"/>
            <p:cNvGrpSpPr/>
            <p:nvPr userDrawn="1"/>
          </p:nvGrpSpPr>
          <p:grpSpPr>
            <a:xfrm>
              <a:off x="-12138" y="0"/>
              <a:ext cx="12864360" cy="6858000"/>
              <a:chOff x="0" y="0"/>
              <a:chExt cx="12864360" cy="6858000"/>
            </a:xfrm>
          </p:grpSpPr>
          <p:grpSp>
            <p:nvGrpSpPr>
              <p:cNvPr id="24" name="Gruppieren 23"/>
              <p:cNvGrpSpPr/>
              <p:nvPr userDrawn="1"/>
            </p:nvGrpSpPr>
            <p:grpSpPr>
              <a:xfrm rot="20232963">
                <a:off x="115147" y="2823987"/>
                <a:ext cx="12749213" cy="3163887"/>
                <a:chOff x="-276225" y="3046413"/>
                <a:chExt cx="12749213" cy="3163887"/>
              </a:xfrm>
              <a:solidFill>
                <a:schemeClr val="bg1"/>
              </a:solidFill>
            </p:grpSpPr>
            <p:sp>
              <p:nvSpPr>
                <p:cNvPr id="26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5694363" y="4705350"/>
                  <a:ext cx="782638" cy="7810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" name="Freeform 7"/>
                <p:cNvSpPr>
                  <a:spLocks noEditPoints="1"/>
                </p:cNvSpPr>
                <p:nvPr userDrawn="1"/>
              </p:nvSpPr>
              <p:spPr bwMode="auto">
                <a:xfrm>
                  <a:off x="-276225" y="3046413"/>
                  <a:ext cx="12749213" cy="3163887"/>
                </a:xfrm>
                <a:custGeom>
                  <a:avLst/>
                  <a:gdLst>
                    <a:gd name="T0" fmla="*/ 3618 w 4014"/>
                    <a:gd name="T1" fmla="*/ 28 h 996"/>
                    <a:gd name="T2" fmla="*/ 3397 w 4014"/>
                    <a:gd name="T3" fmla="*/ 411 h 996"/>
                    <a:gd name="T4" fmla="*/ 2836 w 4014"/>
                    <a:gd name="T5" fmla="*/ 365 h 996"/>
                    <a:gd name="T6" fmla="*/ 2841 w 4014"/>
                    <a:gd name="T7" fmla="*/ 65 h 996"/>
                    <a:gd name="T8" fmla="*/ 2685 w 4014"/>
                    <a:gd name="T9" fmla="*/ 168 h 996"/>
                    <a:gd name="T10" fmla="*/ 2523 w 4014"/>
                    <a:gd name="T11" fmla="*/ 134 h 996"/>
                    <a:gd name="T12" fmla="*/ 2553 w 4014"/>
                    <a:gd name="T13" fmla="*/ 407 h 996"/>
                    <a:gd name="T14" fmla="*/ 1431 w 4014"/>
                    <a:gd name="T15" fmla="*/ 508 h 996"/>
                    <a:gd name="T16" fmla="*/ 1378 w 4014"/>
                    <a:gd name="T17" fmla="*/ 180 h 996"/>
                    <a:gd name="T18" fmla="*/ 1149 w 4014"/>
                    <a:gd name="T19" fmla="*/ 430 h 996"/>
                    <a:gd name="T20" fmla="*/ 794 w 4014"/>
                    <a:gd name="T21" fmla="*/ 80 h 996"/>
                    <a:gd name="T22" fmla="*/ 780 w 4014"/>
                    <a:gd name="T23" fmla="*/ 87 h 996"/>
                    <a:gd name="T24" fmla="*/ 706 w 4014"/>
                    <a:gd name="T25" fmla="*/ 344 h 996"/>
                    <a:gd name="T26" fmla="*/ 231 w 4014"/>
                    <a:gd name="T27" fmla="*/ 199 h 996"/>
                    <a:gd name="T28" fmla="*/ 84 w 4014"/>
                    <a:gd name="T29" fmla="*/ 207 h 996"/>
                    <a:gd name="T30" fmla="*/ 230 w 4014"/>
                    <a:gd name="T31" fmla="*/ 516 h 996"/>
                    <a:gd name="T32" fmla="*/ 244 w 4014"/>
                    <a:gd name="T33" fmla="*/ 523 h 996"/>
                    <a:gd name="T34" fmla="*/ 653 w 4014"/>
                    <a:gd name="T35" fmla="*/ 397 h 996"/>
                    <a:gd name="T36" fmla="*/ 902 w 4014"/>
                    <a:gd name="T37" fmla="*/ 346 h 996"/>
                    <a:gd name="T38" fmla="*/ 1068 w 4014"/>
                    <a:gd name="T39" fmla="*/ 567 h 996"/>
                    <a:gd name="T40" fmla="*/ 1073 w 4014"/>
                    <a:gd name="T41" fmla="*/ 583 h 996"/>
                    <a:gd name="T42" fmla="*/ 1341 w 4014"/>
                    <a:gd name="T43" fmla="*/ 711 h 996"/>
                    <a:gd name="T44" fmla="*/ 1353 w 4014"/>
                    <a:gd name="T45" fmla="*/ 641 h 996"/>
                    <a:gd name="T46" fmla="*/ 2350 w 4014"/>
                    <a:gd name="T47" fmla="*/ 651 h 996"/>
                    <a:gd name="T48" fmla="*/ 2757 w 4014"/>
                    <a:gd name="T49" fmla="*/ 535 h 996"/>
                    <a:gd name="T50" fmla="*/ 2773 w 4014"/>
                    <a:gd name="T51" fmla="*/ 530 h 996"/>
                    <a:gd name="T52" fmla="*/ 3085 w 4014"/>
                    <a:gd name="T53" fmla="*/ 622 h 996"/>
                    <a:gd name="T54" fmla="*/ 3065 w 4014"/>
                    <a:gd name="T55" fmla="*/ 833 h 996"/>
                    <a:gd name="T56" fmla="*/ 3459 w 4014"/>
                    <a:gd name="T57" fmla="*/ 656 h 996"/>
                    <a:gd name="T58" fmla="*/ 3464 w 4014"/>
                    <a:gd name="T59" fmla="*/ 641 h 996"/>
                    <a:gd name="T60" fmla="*/ 3442 w 4014"/>
                    <a:gd name="T61" fmla="*/ 456 h 996"/>
                    <a:gd name="T62" fmla="*/ 3726 w 4014"/>
                    <a:gd name="T63" fmla="*/ 244 h 996"/>
                    <a:gd name="T64" fmla="*/ 3930 w 4014"/>
                    <a:gd name="T65" fmla="*/ 287 h 996"/>
                    <a:gd name="T66" fmla="*/ 2796 w 4014"/>
                    <a:gd name="T67" fmla="*/ 42 h 996"/>
                    <a:gd name="T68" fmla="*/ 2536 w 4014"/>
                    <a:gd name="T69" fmla="*/ 134 h 996"/>
                    <a:gd name="T70" fmla="*/ 1378 w 4014"/>
                    <a:gd name="T71" fmla="*/ 202 h 996"/>
                    <a:gd name="T72" fmla="*/ 744 w 4014"/>
                    <a:gd name="T73" fmla="*/ 45 h 996"/>
                    <a:gd name="T74" fmla="*/ 84 w 4014"/>
                    <a:gd name="T75" fmla="*/ 166 h 996"/>
                    <a:gd name="T76" fmla="*/ 214 w 4014"/>
                    <a:gd name="T77" fmla="*/ 593 h 996"/>
                    <a:gd name="T78" fmla="*/ 388 w 4014"/>
                    <a:gd name="T79" fmla="*/ 385 h 996"/>
                    <a:gd name="T80" fmla="*/ 706 w 4014"/>
                    <a:gd name="T81" fmla="*/ 423 h 996"/>
                    <a:gd name="T82" fmla="*/ 902 w 4014"/>
                    <a:gd name="T83" fmla="*/ 298 h 996"/>
                    <a:gd name="T84" fmla="*/ 1028 w 4014"/>
                    <a:gd name="T85" fmla="*/ 611 h 996"/>
                    <a:gd name="T86" fmla="*/ 1408 w 4014"/>
                    <a:gd name="T87" fmla="*/ 711 h 996"/>
                    <a:gd name="T88" fmla="*/ 1279 w 4014"/>
                    <a:gd name="T89" fmla="*/ 595 h 996"/>
                    <a:gd name="T90" fmla="*/ 2005 w 4014"/>
                    <a:gd name="T91" fmla="*/ 866 h 996"/>
                    <a:gd name="T92" fmla="*/ 2835 w 4014"/>
                    <a:gd name="T93" fmla="*/ 611 h 996"/>
                    <a:gd name="T94" fmla="*/ 2685 w 4014"/>
                    <a:gd name="T95" fmla="*/ 413 h 996"/>
                    <a:gd name="T96" fmla="*/ 3020 w 4014"/>
                    <a:gd name="T97" fmla="*/ 855 h 996"/>
                    <a:gd name="T98" fmla="*/ 3147 w 4014"/>
                    <a:gd name="T99" fmla="*/ 564 h 996"/>
                    <a:gd name="T100" fmla="*/ 3540 w 4014"/>
                    <a:gd name="T101" fmla="*/ 633 h 996"/>
                    <a:gd name="T102" fmla="*/ 3442 w 4014"/>
                    <a:gd name="T103" fmla="*/ 433 h 996"/>
                    <a:gd name="T104" fmla="*/ 3618 w 4014"/>
                    <a:gd name="T105" fmla="*/ 240 h 996"/>
                    <a:gd name="T106" fmla="*/ 3930 w 4014"/>
                    <a:gd name="T107" fmla="*/ 414 h 9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14" h="996">
                      <a:moveTo>
                        <a:pt x="3930" y="287"/>
                      </a:moveTo>
                      <a:cubicBezTo>
                        <a:pt x="3903" y="287"/>
                        <a:pt x="3880" y="300"/>
                        <a:pt x="3864" y="320"/>
                      </a:cubicBezTo>
                      <a:cubicBezTo>
                        <a:pt x="3735" y="231"/>
                        <a:pt x="3735" y="231"/>
                        <a:pt x="3735" y="231"/>
                      </a:cubicBezTo>
                      <a:cubicBezTo>
                        <a:pt x="3747" y="211"/>
                        <a:pt x="3753" y="188"/>
                        <a:pt x="3753" y="163"/>
                      </a:cubicBezTo>
                      <a:cubicBezTo>
                        <a:pt x="3753" y="88"/>
                        <a:pt x="3693" y="28"/>
                        <a:pt x="3618" y="28"/>
                      </a:cubicBezTo>
                      <a:cubicBezTo>
                        <a:pt x="3544" y="28"/>
                        <a:pt x="3483" y="88"/>
                        <a:pt x="3483" y="163"/>
                      </a:cubicBezTo>
                      <a:cubicBezTo>
                        <a:pt x="3483" y="207"/>
                        <a:pt x="3505" y="247"/>
                        <a:pt x="3538" y="272"/>
                      </a:cubicBezTo>
                      <a:cubicBezTo>
                        <a:pt x="3464" y="372"/>
                        <a:pt x="3464" y="372"/>
                        <a:pt x="3464" y="372"/>
                      </a:cubicBezTo>
                      <a:cubicBezTo>
                        <a:pt x="3458" y="368"/>
                        <a:pt x="3450" y="366"/>
                        <a:pt x="3442" y="366"/>
                      </a:cubicBezTo>
                      <a:cubicBezTo>
                        <a:pt x="3417" y="366"/>
                        <a:pt x="3397" y="386"/>
                        <a:pt x="3397" y="411"/>
                      </a:cubicBezTo>
                      <a:cubicBezTo>
                        <a:pt x="3397" y="412"/>
                        <a:pt x="3397" y="412"/>
                        <a:pt x="3397" y="413"/>
                      </a:cubicBezTo>
                      <a:cubicBezTo>
                        <a:pt x="3304" y="424"/>
                        <a:pt x="3304" y="424"/>
                        <a:pt x="3304" y="424"/>
                      </a:cubicBezTo>
                      <a:cubicBezTo>
                        <a:pt x="3284" y="357"/>
                        <a:pt x="3221" y="307"/>
                        <a:pt x="3147" y="307"/>
                      </a:cubicBezTo>
                      <a:cubicBezTo>
                        <a:pt x="3077" y="307"/>
                        <a:pt x="3017" y="351"/>
                        <a:pt x="2994" y="414"/>
                      </a:cubicBezTo>
                      <a:cubicBezTo>
                        <a:pt x="2836" y="365"/>
                        <a:pt x="2836" y="365"/>
                        <a:pt x="2836" y="365"/>
                      </a:cubicBezTo>
                      <a:cubicBezTo>
                        <a:pt x="2839" y="352"/>
                        <a:pt x="2841" y="338"/>
                        <a:pt x="2841" y="324"/>
                      </a:cubicBezTo>
                      <a:cubicBezTo>
                        <a:pt x="2841" y="263"/>
                        <a:pt x="2807" y="211"/>
                        <a:pt x="2757" y="185"/>
                      </a:cubicBezTo>
                      <a:cubicBezTo>
                        <a:pt x="2787" y="109"/>
                        <a:pt x="2787" y="109"/>
                        <a:pt x="2787" y="109"/>
                      </a:cubicBezTo>
                      <a:cubicBezTo>
                        <a:pt x="2790" y="109"/>
                        <a:pt x="2793" y="110"/>
                        <a:pt x="2796" y="110"/>
                      </a:cubicBezTo>
                      <a:cubicBezTo>
                        <a:pt x="2821" y="110"/>
                        <a:pt x="2841" y="89"/>
                        <a:pt x="2841" y="65"/>
                      </a:cubicBezTo>
                      <a:cubicBezTo>
                        <a:pt x="2841" y="40"/>
                        <a:pt x="2821" y="20"/>
                        <a:pt x="2796" y="20"/>
                      </a:cubicBezTo>
                      <a:cubicBezTo>
                        <a:pt x="2771" y="20"/>
                        <a:pt x="2751" y="40"/>
                        <a:pt x="2751" y="65"/>
                      </a:cubicBezTo>
                      <a:cubicBezTo>
                        <a:pt x="2751" y="81"/>
                        <a:pt x="2760" y="95"/>
                        <a:pt x="2772" y="103"/>
                      </a:cubicBezTo>
                      <a:cubicBezTo>
                        <a:pt x="2742" y="179"/>
                        <a:pt x="2742" y="179"/>
                        <a:pt x="2742" y="179"/>
                      </a:cubicBezTo>
                      <a:cubicBezTo>
                        <a:pt x="2724" y="172"/>
                        <a:pt x="2705" y="168"/>
                        <a:pt x="2685" y="168"/>
                      </a:cubicBezTo>
                      <a:cubicBezTo>
                        <a:pt x="2658" y="168"/>
                        <a:pt x="2632" y="175"/>
                        <a:pt x="2609" y="188"/>
                      </a:cubicBezTo>
                      <a:cubicBezTo>
                        <a:pt x="2575" y="151"/>
                        <a:pt x="2575" y="151"/>
                        <a:pt x="2575" y="151"/>
                      </a:cubicBezTo>
                      <a:cubicBezTo>
                        <a:pt x="2579" y="146"/>
                        <a:pt x="2581" y="140"/>
                        <a:pt x="2581" y="134"/>
                      </a:cubicBezTo>
                      <a:cubicBezTo>
                        <a:pt x="2581" y="118"/>
                        <a:pt x="2568" y="105"/>
                        <a:pt x="2552" y="105"/>
                      </a:cubicBezTo>
                      <a:cubicBezTo>
                        <a:pt x="2536" y="105"/>
                        <a:pt x="2523" y="118"/>
                        <a:pt x="2523" y="134"/>
                      </a:cubicBezTo>
                      <a:cubicBezTo>
                        <a:pt x="2523" y="150"/>
                        <a:pt x="2536" y="163"/>
                        <a:pt x="2552" y="163"/>
                      </a:cubicBezTo>
                      <a:cubicBezTo>
                        <a:pt x="2556" y="163"/>
                        <a:pt x="2559" y="162"/>
                        <a:pt x="2563" y="161"/>
                      </a:cubicBezTo>
                      <a:cubicBezTo>
                        <a:pt x="2595" y="196"/>
                        <a:pt x="2595" y="196"/>
                        <a:pt x="2595" y="196"/>
                      </a:cubicBezTo>
                      <a:cubicBezTo>
                        <a:pt x="2555" y="225"/>
                        <a:pt x="2529" y="271"/>
                        <a:pt x="2529" y="324"/>
                      </a:cubicBezTo>
                      <a:cubicBezTo>
                        <a:pt x="2529" y="354"/>
                        <a:pt x="2538" y="383"/>
                        <a:pt x="2553" y="407"/>
                      </a:cubicBezTo>
                      <a:cubicBezTo>
                        <a:pt x="2334" y="546"/>
                        <a:pt x="2334" y="546"/>
                        <a:pt x="2334" y="546"/>
                      </a:cubicBezTo>
                      <a:cubicBezTo>
                        <a:pt x="2290" y="407"/>
                        <a:pt x="2159" y="306"/>
                        <a:pt x="2005" y="306"/>
                      </a:cubicBezTo>
                      <a:cubicBezTo>
                        <a:pt x="1840" y="306"/>
                        <a:pt x="1702" y="422"/>
                        <a:pt x="1668" y="577"/>
                      </a:cubicBezTo>
                      <a:cubicBezTo>
                        <a:pt x="1429" y="537"/>
                        <a:pt x="1429" y="537"/>
                        <a:pt x="1429" y="537"/>
                      </a:cubicBezTo>
                      <a:cubicBezTo>
                        <a:pt x="1430" y="527"/>
                        <a:pt x="1431" y="518"/>
                        <a:pt x="1431" y="508"/>
                      </a:cubicBezTo>
                      <a:cubicBezTo>
                        <a:pt x="1431" y="442"/>
                        <a:pt x="1390" y="386"/>
                        <a:pt x="1331" y="365"/>
                      </a:cubicBezTo>
                      <a:cubicBezTo>
                        <a:pt x="1374" y="269"/>
                        <a:pt x="1374" y="269"/>
                        <a:pt x="1374" y="269"/>
                      </a:cubicBezTo>
                      <a:cubicBezTo>
                        <a:pt x="1375" y="270"/>
                        <a:pt x="1377" y="270"/>
                        <a:pt x="1378" y="270"/>
                      </a:cubicBezTo>
                      <a:cubicBezTo>
                        <a:pt x="1403" y="270"/>
                        <a:pt x="1423" y="249"/>
                        <a:pt x="1423" y="225"/>
                      </a:cubicBezTo>
                      <a:cubicBezTo>
                        <a:pt x="1423" y="200"/>
                        <a:pt x="1403" y="180"/>
                        <a:pt x="1378" y="180"/>
                      </a:cubicBezTo>
                      <a:cubicBezTo>
                        <a:pt x="1353" y="180"/>
                        <a:pt x="1333" y="200"/>
                        <a:pt x="1333" y="225"/>
                      </a:cubicBezTo>
                      <a:cubicBezTo>
                        <a:pt x="1333" y="242"/>
                        <a:pt x="1343" y="258"/>
                        <a:pt x="1358" y="265"/>
                      </a:cubicBezTo>
                      <a:cubicBezTo>
                        <a:pt x="1316" y="360"/>
                        <a:pt x="1316" y="360"/>
                        <a:pt x="1316" y="360"/>
                      </a:cubicBezTo>
                      <a:cubicBezTo>
                        <a:pt x="1304" y="358"/>
                        <a:pt x="1292" y="356"/>
                        <a:pt x="1279" y="356"/>
                      </a:cubicBezTo>
                      <a:cubicBezTo>
                        <a:pt x="1224" y="356"/>
                        <a:pt x="1176" y="385"/>
                        <a:pt x="1149" y="430"/>
                      </a:cubicBezTo>
                      <a:cubicBezTo>
                        <a:pt x="994" y="297"/>
                        <a:pt x="994" y="297"/>
                        <a:pt x="994" y="297"/>
                      </a:cubicBezTo>
                      <a:cubicBezTo>
                        <a:pt x="1006" y="280"/>
                        <a:pt x="1013" y="258"/>
                        <a:pt x="1013" y="235"/>
                      </a:cubicBezTo>
                      <a:cubicBezTo>
                        <a:pt x="1013" y="174"/>
                        <a:pt x="964" y="124"/>
                        <a:pt x="902" y="124"/>
                      </a:cubicBezTo>
                      <a:cubicBezTo>
                        <a:pt x="879" y="124"/>
                        <a:pt x="858" y="131"/>
                        <a:pt x="840" y="143"/>
                      </a:cubicBezTo>
                      <a:cubicBezTo>
                        <a:pt x="794" y="80"/>
                        <a:pt x="794" y="80"/>
                        <a:pt x="794" y="80"/>
                      </a:cubicBezTo>
                      <a:cubicBezTo>
                        <a:pt x="804" y="72"/>
                        <a:pt x="811" y="59"/>
                        <a:pt x="811" y="45"/>
                      </a:cubicBezTo>
                      <a:cubicBezTo>
                        <a:pt x="811" y="20"/>
                        <a:pt x="791" y="0"/>
                        <a:pt x="766" y="0"/>
                      </a:cubicBezTo>
                      <a:cubicBezTo>
                        <a:pt x="741" y="0"/>
                        <a:pt x="721" y="20"/>
                        <a:pt x="721" y="45"/>
                      </a:cubicBezTo>
                      <a:cubicBezTo>
                        <a:pt x="721" y="69"/>
                        <a:pt x="741" y="90"/>
                        <a:pt x="766" y="90"/>
                      </a:cubicBezTo>
                      <a:cubicBezTo>
                        <a:pt x="771" y="90"/>
                        <a:pt x="775" y="89"/>
                        <a:pt x="780" y="87"/>
                      </a:cubicBezTo>
                      <a:cubicBezTo>
                        <a:pt x="827" y="153"/>
                        <a:pt x="827" y="153"/>
                        <a:pt x="827" y="153"/>
                      </a:cubicBezTo>
                      <a:cubicBezTo>
                        <a:pt x="805" y="173"/>
                        <a:pt x="791" y="203"/>
                        <a:pt x="791" y="235"/>
                      </a:cubicBezTo>
                      <a:cubicBezTo>
                        <a:pt x="791" y="256"/>
                        <a:pt x="797" y="276"/>
                        <a:pt x="808" y="293"/>
                      </a:cubicBezTo>
                      <a:cubicBezTo>
                        <a:pt x="741" y="357"/>
                        <a:pt x="741" y="357"/>
                        <a:pt x="741" y="357"/>
                      </a:cubicBezTo>
                      <a:cubicBezTo>
                        <a:pt x="732" y="349"/>
                        <a:pt x="719" y="344"/>
                        <a:pt x="706" y="344"/>
                      </a:cubicBezTo>
                      <a:cubicBezTo>
                        <a:pt x="686" y="344"/>
                        <a:pt x="669" y="355"/>
                        <a:pt x="660" y="371"/>
                      </a:cubicBezTo>
                      <a:cubicBezTo>
                        <a:pt x="564" y="325"/>
                        <a:pt x="564" y="325"/>
                        <a:pt x="564" y="325"/>
                      </a:cubicBezTo>
                      <a:cubicBezTo>
                        <a:pt x="567" y="312"/>
                        <a:pt x="569" y="298"/>
                        <a:pt x="569" y="285"/>
                      </a:cubicBezTo>
                      <a:cubicBezTo>
                        <a:pt x="569" y="188"/>
                        <a:pt x="488" y="109"/>
                        <a:pt x="388" y="109"/>
                      </a:cubicBezTo>
                      <a:cubicBezTo>
                        <a:pt x="320" y="109"/>
                        <a:pt x="261" y="146"/>
                        <a:pt x="231" y="199"/>
                      </a:cubicBezTo>
                      <a:cubicBezTo>
                        <a:pt x="162" y="155"/>
                        <a:pt x="162" y="155"/>
                        <a:pt x="162" y="155"/>
                      </a:cubicBezTo>
                      <a:cubicBezTo>
                        <a:pt x="166" y="145"/>
                        <a:pt x="168" y="135"/>
                        <a:pt x="168" y="123"/>
                      </a:cubicBezTo>
                      <a:cubicBezTo>
                        <a:pt x="168" y="77"/>
                        <a:pt x="131" y="39"/>
                        <a:pt x="84" y="39"/>
                      </a:cubicBezTo>
                      <a:cubicBezTo>
                        <a:pt x="38" y="39"/>
                        <a:pt x="0" y="77"/>
                        <a:pt x="0" y="123"/>
                      </a:cubicBezTo>
                      <a:cubicBezTo>
                        <a:pt x="0" y="170"/>
                        <a:pt x="38" y="207"/>
                        <a:pt x="84" y="207"/>
                      </a:cubicBezTo>
                      <a:cubicBezTo>
                        <a:pt x="114" y="207"/>
                        <a:pt x="139" y="192"/>
                        <a:pt x="154" y="170"/>
                      </a:cubicBezTo>
                      <a:cubicBezTo>
                        <a:pt x="223" y="214"/>
                        <a:pt x="223" y="214"/>
                        <a:pt x="223" y="214"/>
                      </a:cubicBezTo>
                      <a:cubicBezTo>
                        <a:pt x="213" y="235"/>
                        <a:pt x="208" y="259"/>
                        <a:pt x="208" y="285"/>
                      </a:cubicBezTo>
                      <a:cubicBezTo>
                        <a:pt x="208" y="344"/>
                        <a:pt x="239" y="397"/>
                        <a:pt x="286" y="429"/>
                      </a:cubicBezTo>
                      <a:cubicBezTo>
                        <a:pt x="230" y="516"/>
                        <a:pt x="230" y="516"/>
                        <a:pt x="230" y="516"/>
                      </a:cubicBezTo>
                      <a:cubicBezTo>
                        <a:pt x="225" y="514"/>
                        <a:pt x="220" y="514"/>
                        <a:pt x="214" y="514"/>
                      </a:cubicBezTo>
                      <a:cubicBezTo>
                        <a:pt x="185" y="514"/>
                        <a:pt x="161" y="537"/>
                        <a:pt x="161" y="567"/>
                      </a:cubicBezTo>
                      <a:cubicBezTo>
                        <a:pt x="161" y="596"/>
                        <a:pt x="185" y="620"/>
                        <a:pt x="214" y="620"/>
                      </a:cubicBezTo>
                      <a:cubicBezTo>
                        <a:pt x="243" y="620"/>
                        <a:pt x="267" y="596"/>
                        <a:pt x="267" y="567"/>
                      </a:cubicBezTo>
                      <a:cubicBezTo>
                        <a:pt x="267" y="549"/>
                        <a:pt x="258" y="533"/>
                        <a:pt x="244" y="523"/>
                      </a:cubicBezTo>
                      <a:cubicBezTo>
                        <a:pt x="300" y="437"/>
                        <a:pt x="300" y="437"/>
                        <a:pt x="300" y="437"/>
                      </a:cubicBezTo>
                      <a:cubicBezTo>
                        <a:pt x="326" y="452"/>
                        <a:pt x="356" y="460"/>
                        <a:pt x="388" y="460"/>
                      </a:cubicBezTo>
                      <a:cubicBezTo>
                        <a:pt x="468" y="460"/>
                        <a:pt x="535" y="410"/>
                        <a:pt x="559" y="340"/>
                      </a:cubicBezTo>
                      <a:cubicBezTo>
                        <a:pt x="654" y="386"/>
                        <a:pt x="654" y="386"/>
                        <a:pt x="654" y="386"/>
                      </a:cubicBezTo>
                      <a:cubicBezTo>
                        <a:pt x="653" y="389"/>
                        <a:pt x="653" y="393"/>
                        <a:pt x="653" y="397"/>
                      </a:cubicBezTo>
                      <a:cubicBezTo>
                        <a:pt x="653" y="426"/>
                        <a:pt x="677" y="450"/>
                        <a:pt x="706" y="450"/>
                      </a:cubicBezTo>
                      <a:cubicBezTo>
                        <a:pt x="735" y="450"/>
                        <a:pt x="759" y="426"/>
                        <a:pt x="759" y="397"/>
                      </a:cubicBezTo>
                      <a:cubicBezTo>
                        <a:pt x="759" y="387"/>
                        <a:pt x="756" y="377"/>
                        <a:pt x="751" y="369"/>
                      </a:cubicBezTo>
                      <a:cubicBezTo>
                        <a:pt x="817" y="306"/>
                        <a:pt x="817" y="306"/>
                        <a:pt x="817" y="306"/>
                      </a:cubicBezTo>
                      <a:cubicBezTo>
                        <a:pt x="838" y="331"/>
                        <a:pt x="868" y="346"/>
                        <a:pt x="902" y="346"/>
                      </a:cubicBezTo>
                      <a:cubicBezTo>
                        <a:pt x="935" y="346"/>
                        <a:pt x="964" y="332"/>
                        <a:pt x="984" y="310"/>
                      </a:cubicBezTo>
                      <a:cubicBezTo>
                        <a:pt x="1141" y="444"/>
                        <a:pt x="1141" y="444"/>
                        <a:pt x="1141" y="444"/>
                      </a:cubicBezTo>
                      <a:cubicBezTo>
                        <a:pt x="1132" y="463"/>
                        <a:pt x="1127" y="485"/>
                        <a:pt x="1127" y="508"/>
                      </a:cubicBezTo>
                      <a:cubicBezTo>
                        <a:pt x="1127" y="520"/>
                        <a:pt x="1129" y="532"/>
                        <a:pt x="1132" y="544"/>
                      </a:cubicBezTo>
                      <a:cubicBezTo>
                        <a:pt x="1068" y="567"/>
                        <a:pt x="1068" y="567"/>
                        <a:pt x="1068" y="567"/>
                      </a:cubicBezTo>
                      <a:cubicBezTo>
                        <a:pt x="1060" y="553"/>
                        <a:pt x="1045" y="544"/>
                        <a:pt x="1028" y="544"/>
                      </a:cubicBezTo>
                      <a:cubicBezTo>
                        <a:pt x="1003" y="544"/>
                        <a:pt x="983" y="564"/>
                        <a:pt x="983" y="589"/>
                      </a:cubicBezTo>
                      <a:cubicBezTo>
                        <a:pt x="983" y="613"/>
                        <a:pt x="1003" y="634"/>
                        <a:pt x="1028" y="634"/>
                      </a:cubicBezTo>
                      <a:cubicBezTo>
                        <a:pt x="1053" y="634"/>
                        <a:pt x="1073" y="613"/>
                        <a:pt x="1073" y="589"/>
                      </a:cubicBezTo>
                      <a:cubicBezTo>
                        <a:pt x="1073" y="587"/>
                        <a:pt x="1073" y="585"/>
                        <a:pt x="1073" y="583"/>
                      </a:cubicBezTo>
                      <a:cubicBezTo>
                        <a:pt x="1136" y="559"/>
                        <a:pt x="1136" y="559"/>
                        <a:pt x="1136" y="559"/>
                      </a:cubicBezTo>
                      <a:cubicBezTo>
                        <a:pt x="1157" y="618"/>
                        <a:pt x="1213" y="660"/>
                        <a:pt x="1279" y="660"/>
                      </a:cubicBezTo>
                      <a:cubicBezTo>
                        <a:pt x="1300" y="660"/>
                        <a:pt x="1320" y="656"/>
                        <a:pt x="1339" y="648"/>
                      </a:cubicBezTo>
                      <a:cubicBezTo>
                        <a:pt x="1356" y="677"/>
                        <a:pt x="1356" y="677"/>
                        <a:pt x="1356" y="677"/>
                      </a:cubicBezTo>
                      <a:cubicBezTo>
                        <a:pt x="1347" y="685"/>
                        <a:pt x="1341" y="697"/>
                        <a:pt x="1341" y="711"/>
                      </a:cubicBezTo>
                      <a:cubicBezTo>
                        <a:pt x="1341" y="735"/>
                        <a:pt x="1361" y="756"/>
                        <a:pt x="1386" y="756"/>
                      </a:cubicBezTo>
                      <a:cubicBezTo>
                        <a:pt x="1411" y="756"/>
                        <a:pt x="1431" y="735"/>
                        <a:pt x="1431" y="711"/>
                      </a:cubicBezTo>
                      <a:cubicBezTo>
                        <a:pt x="1431" y="686"/>
                        <a:pt x="1411" y="666"/>
                        <a:pt x="1386" y="666"/>
                      </a:cubicBezTo>
                      <a:cubicBezTo>
                        <a:pt x="1380" y="666"/>
                        <a:pt x="1375" y="667"/>
                        <a:pt x="1370" y="669"/>
                      </a:cubicBezTo>
                      <a:cubicBezTo>
                        <a:pt x="1353" y="641"/>
                        <a:pt x="1353" y="641"/>
                        <a:pt x="1353" y="641"/>
                      </a:cubicBezTo>
                      <a:cubicBezTo>
                        <a:pt x="1387" y="622"/>
                        <a:pt x="1413" y="590"/>
                        <a:pt x="1425" y="552"/>
                      </a:cubicBezTo>
                      <a:cubicBezTo>
                        <a:pt x="1665" y="592"/>
                        <a:pt x="1665" y="592"/>
                        <a:pt x="1665" y="592"/>
                      </a:cubicBezTo>
                      <a:cubicBezTo>
                        <a:pt x="1662" y="611"/>
                        <a:pt x="1660" y="631"/>
                        <a:pt x="1660" y="651"/>
                      </a:cubicBezTo>
                      <a:cubicBezTo>
                        <a:pt x="1660" y="841"/>
                        <a:pt x="1814" y="996"/>
                        <a:pt x="2005" y="996"/>
                      </a:cubicBezTo>
                      <a:cubicBezTo>
                        <a:pt x="2196" y="996"/>
                        <a:pt x="2350" y="841"/>
                        <a:pt x="2350" y="651"/>
                      </a:cubicBezTo>
                      <a:cubicBezTo>
                        <a:pt x="2350" y="620"/>
                        <a:pt x="2346" y="591"/>
                        <a:pt x="2338" y="562"/>
                      </a:cubicBezTo>
                      <a:cubicBezTo>
                        <a:pt x="2562" y="420"/>
                        <a:pt x="2562" y="420"/>
                        <a:pt x="2562" y="420"/>
                      </a:cubicBezTo>
                      <a:cubicBezTo>
                        <a:pt x="2591" y="456"/>
                        <a:pt x="2635" y="480"/>
                        <a:pt x="2685" y="480"/>
                      </a:cubicBezTo>
                      <a:cubicBezTo>
                        <a:pt x="2700" y="480"/>
                        <a:pt x="2715" y="478"/>
                        <a:pt x="2728" y="474"/>
                      </a:cubicBezTo>
                      <a:cubicBezTo>
                        <a:pt x="2757" y="535"/>
                        <a:pt x="2757" y="535"/>
                        <a:pt x="2757" y="535"/>
                      </a:cubicBezTo>
                      <a:cubicBezTo>
                        <a:pt x="2728" y="548"/>
                        <a:pt x="2708" y="577"/>
                        <a:pt x="2708" y="611"/>
                      </a:cubicBezTo>
                      <a:cubicBezTo>
                        <a:pt x="2708" y="658"/>
                        <a:pt x="2746" y="695"/>
                        <a:pt x="2792" y="695"/>
                      </a:cubicBezTo>
                      <a:cubicBezTo>
                        <a:pt x="2839" y="695"/>
                        <a:pt x="2876" y="658"/>
                        <a:pt x="2876" y="611"/>
                      </a:cubicBezTo>
                      <a:cubicBezTo>
                        <a:pt x="2876" y="565"/>
                        <a:pt x="2839" y="527"/>
                        <a:pt x="2792" y="527"/>
                      </a:cubicBezTo>
                      <a:cubicBezTo>
                        <a:pt x="2786" y="527"/>
                        <a:pt x="2779" y="528"/>
                        <a:pt x="2773" y="530"/>
                      </a:cubicBezTo>
                      <a:cubicBezTo>
                        <a:pt x="2743" y="469"/>
                        <a:pt x="2743" y="469"/>
                        <a:pt x="2743" y="469"/>
                      </a:cubicBezTo>
                      <a:cubicBezTo>
                        <a:pt x="2783" y="453"/>
                        <a:pt x="2815" y="420"/>
                        <a:pt x="2831" y="380"/>
                      </a:cubicBezTo>
                      <a:cubicBezTo>
                        <a:pt x="2989" y="429"/>
                        <a:pt x="2989" y="429"/>
                        <a:pt x="2989" y="429"/>
                      </a:cubicBezTo>
                      <a:cubicBezTo>
                        <a:pt x="2986" y="442"/>
                        <a:pt x="2984" y="456"/>
                        <a:pt x="2984" y="471"/>
                      </a:cubicBezTo>
                      <a:cubicBezTo>
                        <a:pt x="2984" y="539"/>
                        <a:pt x="3026" y="597"/>
                        <a:pt x="3085" y="622"/>
                      </a:cubicBezTo>
                      <a:cubicBezTo>
                        <a:pt x="3029" y="789"/>
                        <a:pt x="3029" y="789"/>
                        <a:pt x="3029" y="789"/>
                      </a:cubicBezTo>
                      <a:cubicBezTo>
                        <a:pt x="3026" y="788"/>
                        <a:pt x="3023" y="788"/>
                        <a:pt x="3020" y="788"/>
                      </a:cubicBezTo>
                      <a:cubicBezTo>
                        <a:pt x="2995" y="788"/>
                        <a:pt x="2975" y="808"/>
                        <a:pt x="2975" y="833"/>
                      </a:cubicBezTo>
                      <a:cubicBezTo>
                        <a:pt x="2975" y="857"/>
                        <a:pt x="2995" y="878"/>
                        <a:pt x="3020" y="878"/>
                      </a:cubicBezTo>
                      <a:cubicBezTo>
                        <a:pt x="3045" y="878"/>
                        <a:pt x="3065" y="857"/>
                        <a:pt x="3065" y="833"/>
                      </a:cubicBezTo>
                      <a:cubicBezTo>
                        <a:pt x="3065" y="817"/>
                        <a:pt x="3057" y="803"/>
                        <a:pt x="3044" y="795"/>
                      </a:cubicBezTo>
                      <a:cubicBezTo>
                        <a:pt x="3100" y="627"/>
                        <a:pt x="3100" y="627"/>
                        <a:pt x="3100" y="627"/>
                      </a:cubicBezTo>
                      <a:cubicBezTo>
                        <a:pt x="3115" y="631"/>
                        <a:pt x="3131" y="634"/>
                        <a:pt x="3147" y="634"/>
                      </a:cubicBezTo>
                      <a:cubicBezTo>
                        <a:pt x="3198" y="634"/>
                        <a:pt x="3243" y="611"/>
                        <a:pt x="3273" y="575"/>
                      </a:cubicBezTo>
                      <a:cubicBezTo>
                        <a:pt x="3459" y="656"/>
                        <a:pt x="3459" y="656"/>
                        <a:pt x="3459" y="656"/>
                      </a:cubicBezTo>
                      <a:cubicBezTo>
                        <a:pt x="3457" y="662"/>
                        <a:pt x="3456" y="669"/>
                        <a:pt x="3456" y="675"/>
                      </a:cubicBezTo>
                      <a:cubicBezTo>
                        <a:pt x="3456" y="722"/>
                        <a:pt x="3494" y="759"/>
                        <a:pt x="3540" y="759"/>
                      </a:cubicBezTo>
                      <a:cubicBezTo>
                        <a:pt x="3587" y="759"/>
                        <a:pt x="3624" y="722"/>
                        <a:pt x="3624" y="675"/>
                      </a:cubicBezTo>
                      <a:cubicBezTo>
                        <a:pt x="3624" y="629"/>
                        <a:pt x="3587" y="591"/>
                        <a:pt x="3540" y="591"/>
                      </a:cubicBezTo>
                      <a:cubicBezTo>
                        <a:pt x="3506" y="591"/>
                        <a:pt x="3477" y="612"/>
                        <a:pt x="3464" y="641"/>
                      </a:cubicBezTo>
                      <a:cubicBezTo>
                        <a:pt x="3283" y="562"/>
                        <a:pt x="3283" y="562"/>
                        <a:pt x="3283" y="562"/>
                      </a:cubicBezTo>
                      <a:cubicBezTo>
                        <a:pt x="3300" y="536"/>
                        <a:pt x="3311" y="504"/>
                        <a:pt x="3311" y="471"/>
                      </a:cubicBezTo>
                      <a:cubicBezTo>
                        <a:pt x="3311" y="460"/>
                        <a:pt x="3310" y="450"/>
                        <a:pt x="3308" y="440"/>
                      </a:cubicBezTo>
                      <a:cubicBezTo>
                        <a:pt x="3401" y="429"/>
                        <a:pt x="3401" y="429"/>
                        <a:pt x="3401" y="429"/>
                      </a:cubicBezTo>
                      <a:cubicBezTo>
                        <a:pt x="3408" y="445"/>
                        <a:pt x="3424" y="456"/>
                        <a:pt x="3442" y="456"/>
                      </a:cubicBezTo>
                      <a:cubicBezTo>
                        <a:pt x="3467" y="456"/>
                        <a:pt x="3487" y="435"/>
                        <a:pt x="3487" y="411"/>
                      </a:cubicBezTo>
                      <a:cubicBezTo>
                        <a:pt x="3487" y="400"/>
                        <a:pt x="3483" y="390"/>
                        <a:pt x="3477" y="382"/>
                      </a:cubicBezTo>
                      <a:cubicBezTo>
                        <a:pt x="3551" y="280"/>
                        <a:pt x="3551" y="280"/>
                        <a:pt x="3551" y="280"/>
                      </a:cubicBezTo>
                      <a:cubicBezTo>
                        <a:pt x="3571" y="291"/>
                        <a:pt x="3594" y="298"/>
                        <a:pt x="3618" y="298"/>
                      </a:cubicBezTo>
                      <a:cubicBezTo>
                        <a:pt x="3662" y="298"/>
                        <a:pt x="3702" y="277"/>
                        <a:pt x="3726" y="244"/>
                      </a:cubicBezTo>
                      <a:cubicBezTo>
                        <a:pt x="3856" y="333"/>
                        <a:pt x="3856" y="333"/>
                        <a:pt x="3856" y="333"/>
                      </a:cubicBezTo>
                      <a:cubicBezTo>
                        <a:pt x="3850" y="344"/>
                        <a:pt x="3846" y="357"/>
                        <a:pt x="3846" y="371"/>
                      </a:cubicBezTo>
                      <a:cubicBezTo>
                        <a:pt x="3846" y="418"/>
                        <a:pt x="3884" y="455"/>
                        <a:pt x="3930" y="455"/>
                      </a:cubicBezTo>
                      <a:cubicBezTo>
                        <a:pt x="3977" y="455"/>
                        <a:pt x="4014" y="418"/>
                        <a:pt x="4014" y="371"/>
                      </a:cubicBezTo>
                      <a:cubicBezTo>
                        <a:pt x="4014" y="325"/>
                        <a:pt x="3977" y="287"/>
                        <a:pt x="3930" y="287"/>
                      </a:cubicBezTo>
                      <a:close/>
                      <a:moveTo>
                        <a:pt x="2796" y="42"/>
                      </a:moveTo>
                      <a:cubicBezTo>
                        <a:pt x="2808" y="42"/>
                        <a:pt x="2818" y="52"/>
                        <a:pt x="2818" y="65"/>
                      </a:cubicBezTo>
                      <a:cubicBezTo>
                        <a:pt x="2818" y="77"/>
                        <a:pt x="2808" y="87"/>
                        <a:pt x="2796" y="87"/>
                      </a:cubicBezTo>
                      <a:cubicBezTo>
                        <a:pt x="2784" y="87"/>
                        <a:pt x="2774" y="77"/>
                        <a:pt x="2774" y="65"/>
                      </a:cubicBezTo>
                      <a:cubicBezTo>
                        <a:pt x="2774" y="52"/>
                        <a:pt x="2784" y="42"/>
                        <a:pt x="2796" y="42"/>
                      </a:cubicBezTo>
                      <a:close/>
                      <a:moveTo>
                        <a:pt x="2536" y="134"/>
                      </a:moveTo>
                      <a:cubicBezTo>
                        <a:pt x="2536" y="125"/>
                        <a:pt x="2543" y="118"/>
                        <a:pt x="2552" y="118"/>
                      </a:cubicBezTo>
                      <a:cubicBezTo>
                        <a:pt x="2561" y="118"/>
                        <a:pt x="2569" y="125"/>
                        <a:pt x="2569" y="134"/>
                      </a:cubicBezTo>
                      <a:cubicBezTo>
                        <a:pt x="2569" y="143"/>
                        <a:pt x="2561" y="150"/>
                        <a:pt x="2552" y="150"/>
                      </a:cubicBezTo>
                      <a:cubicBezTo>
                        <a:pt x="2543" y="150"/>
                        <a:pt x="2536" y="143"/>
                        <a:pt x="2536" y="134"/>
                      </a:cubicBezTo>
                      <a:close/>
                      <a:moveTo>
                        <a:pt x="1378" y="202"/>
                      </a:moveTo>
                      <a:cubicBezTo>
                        <a:pt x="1390" y="202"/>
                        <a:pt x="1400" y="212"/>
                        <a:pt x="1400" y="225"/>
                      </a:cubicBezTo>
                      <a:cubicBezTo>
                        <a:pt x="1400" y="237"/>
                        <a:pt x="1390" y="247"/>
                        <a:pt x="1378" y="247"/>
                      </a:cubicBezTo>
                      <a:cubicBezTo>
                        <a:pt x="1366" y="247"/>
                        <a:pt x="1356" y="237"/>
                        <a:pt x="1356" y="225"/>
                      </a:cubicBezTo>
                      <a:cubicBezTo>
                        <a:pt x="1356" y="212"/>
                        <a:pt x="1366" y="202"/>
                        <a:pt x="1378" y="202"/>
                      </a:cubicBezTo>
                      <a:close/>
                      <a:moveTo>
                        <a:pt x="744" y="45"/>
                      </a:moveTo>
                      <a:cubicBezTo>
                        <a:pt x="744" y="32"/>
                        <a:pt x="754" y="22"/>
                        <a:pt x="766" y="22"/>
                      </a:cubicBezTo>
                      <a:cubicBezTo>
                        <a:pt x="778" y="22"/>
                        <a:pt x="788" y="32"/>
                        <a:pt x="788" y="45"/>
                      </a:cubicBezTo>
                      <a:cubicBezTo>
                        <a:pt x="788" y="57"/>
                        <a:pt x="778" y="67"/>
                        <a:pt x="766" y="67"/>
                      </a:cubicBezTo>
                      <a:cubicBezTo>
                        <a:pt x="754" y="67"/>
                        <a:pt x="744" y="57"/>
                        <a:pt x="744" y="45"/>
                      </a:cubicBezTo>
                      <a:close/>
                      <a:moveTo>
                        <a:pt x="84" y="166"/>
                      </a:moveTo>
                      <a:cubicBezTo>
                        <a:pt x="61" y="166"/>
                        <a:pt x="42" y="147"/>
                        <a:pt x="42" y="123"/>
                      </a:cubicBezTo>
                      <a:cubicBezTo>
                        <a:pt x="42" y="100"/>
                        <a:pt x="61" y="81"/>
                        <a:pt x="84" y="81"/>
                      </a:cubicBezTo>
                      <a:cubicBezTo>
                        <a:pt x="108" y="81"/>
                        <a:pt x="127" y="100"/>
                        <a:pt x="127" y="123"/>
                      </a:cubicBezTo>
                      <a:cubicBezTo>
                        <a:pt x="127" y="147"/>
                        <a:pt x="108" y="166"/>
                        <a:pt x="84" y="166"/>
                      </a:cubicBezTo>
                      <a:close/>
                      <a:moveTo>
                        <a:pt x="214" y="593"/>
                      </a:moveTo>
                      <a:cubicBezTo>
                        <a:pt x="199" y="593"/>
                        <a:pt x="188" y="581"/>
                        <a:pt x="188" y="567"/>
                      </a:cubicBezTo>
                      <a:cubicBezTo>
                        <a:pt x="188" y="552"/>
                        <a:pt x="199" y="540"/>
                        <a:pt x="214" y="540"/>
                      </a:cubicBezTo>
                      <a:cubicBezTo>
                        <a:pt x="229" y="540"/>
                        <a:pt x="240" y="552"/>
                        <a:pt x="240" y="567"/>
                      </a:cubicBezTo>
                      <a:cubicBezTo>
                        <a:pt x="240" y="581"/>
                        <a:pt x="229" y="593"/>
                        <a:pt x="214" y="593"/>
                      </a:cubicBezTo>
                      <a:close/>
                      <a:moveTo>
                        <a:pt x="388" y="385"/>
                      </a:moveTo>
                      <a:cubicBezTo>
                        <a:pt x="330" y="385"/>
                        <a:pt x="282" y="339"/>
                        <a:pt x="282" y="282"/>
                      </a:cubicBezTo>
                      <a:cubicBezTo>
                        <a:pt x="282" y="225"/>
                        <a:pt x="330" y="179"/>
                        <a:pt x="388" y="179"/>
                      </a:cubicBezTo>
                      <a:cubicBezTo>
                        <a:pt x="447" y="179"/>
                        <a:pt x="494" y="225"/>
                        <a:pt x="494" y="282"/>
                      </a:cubicBezTo>
                      <a:cubicBezTo>
                        <a:pt x="494" y="339"/>
                        <a:pt x="447" y="385"/>
                        <a:pt x="388" y="385"/>
                      </a:cubicBezTo>
                      <a:close/>
                      <a:moveTo>
                        <a:pt x="706" y="423"/>
                      </a:moveTo>
                      <a:cubicBezTo>
                        <a:pt x="691" y="423"/>
                        <a:pt x="680" y="411"/>
                        <a:pt x="680" y="397"/>
                      </a:cubicBezTo>
                      <a:cubicBezTo>
                        <a:pt x="680" y="382"/>
                        <a:pt x="691" y="370"/>
                        <a:pt x="706" y="370"/>
                      </a:cubicBezTo>
                      <a:cubicBezTo>
                        <a:pt x="721" y="370"/>
                        <a:pt x="732" y="382"/>
                        <a:pt x="732" y="397"/>
                      </a:cubicBezTo>
                      <a:cubicBezTo>
                        <a:pt x="732" y="411"/>
                        <a:pt x="721" y="423"/>
                        <a:pt x="706" y="423"/>
                      </a:cubicBezTo>
                      <a:close/>
                      <a:moveTo>
                        <a:pt x="902" y="298"/>
                      </a:moveTo>
                      <a:cubicBezTo>
                        <a:pt x="866" y="298"/>
                        <a:pt x="837" y="269"/>
                        <a:pt x="837" y="233"/>
                      </a:cubicBezTo>
                      <a:cubicBezTo>
                        <a:pt x="837" y="197"/>
                        <a:pt x="866" y="168"/>
                        <a:pt x="902" y="168"/>
                      </a:cubicBezTo>
                      <a:cubicBezTo>
                        <a:pt x="938" y="168"/>
                        <a:pt x="967" y="197"/>
                        <a:pt x="967" y="233"/>
                      </a:cubicBezTo>
                      <a:cubicBezTo>
                        <a:pt x="967" y="269"/>
                        <a:pt x="938" y="298"/>
                        <a:pt x="902" y="298"/>
                      </a:cubicBezTo>
                      <a:close/>
                      <a:moveTo>
                        <a:pt x="1028" y="611"/>
                      </a:moveTo>
                      <a:cubicBezTo>
                        <a:pt x="1016" y="611"/>
                        <a:pt x="1006" y="601"/>
                        <a:pt x="1006" y="589"/>
                      </a:cubicBezTo>
                      <a:cubicBezTo>
                        <a:pt x="1006" y="576"/>
                        <a:pt x="1016" y="566"/>
                        <a:pt x="1028" y="566"/>
                      </a:cubicBezTo>
                      <a:cubicBezTo>
                        <a:pt x="1040" y="566"/>
                        <a:pt x="1050" y="576"/>
                        <a:pt x="1050" y="589"/>
                      </a:cubicBezTo>
                      <a:cubicBezTo>
                        <a:pt x="1050" y="601"/>
                        <a:pt x="1040" y="611"/>
                        <a:pt x="1028" y="611"/>
                      </a:cubicBezTo>
                      <a:close/>
                      <a:moveTo>
                        <a:pt x="1408" y="711"/>
                      </a:moveTo>
                      <a:cubicBezTo>
                        <a:pt x="1408" y="723"/>
                        <a:pt x="1398" y="733"/>
                        <a:pt x="1386" y="733"/>
                      </a:cubicBezTo>
                      <a:cubicBezTo>
                        <a:pt x="1374" y="733"/>
                        <a:pt x="1364" y="723"/>
                        <a:pt x="1364" y="711"/>
                      </a:cubicBezTo>
                      <a:cubicBezTo>
                        <a:pt x="1364" y="698"/>
                        <a:pt x="1374" y="688"/>
                        <a:pt x="1386" y="688"/>
                      </a:cubicBezTo>
                      <a:cubicBezTo>
                        <a:pt x="1398" y="688"/>
                        <a:pt x="1408" y="698"/>
                        <a:pt x="1408" y="711"/>
                      </a:cubicBezTo>
                      <a:close/>
                      <a:moveTo>
                        <a:pt x="1279" y="595"/>
                      </a:moveTo>
                      <a:cubicBezTo>
                        <a:pt x="1230" y="595"/>
                        <a:pt x="1190" y="555"/>
                        <a:pt x="1190" y="506"/>
                      </a:cubicBezTo>
                      <a:cubicBezTo>
                        <a:pt x="1190" y="456"/>
                        <a:pt x="1230" y="416"/>
                        <a:pt x="1279" y="416"/>
                      </a:cubicBezTo>
                      <a:cubicBezTo>
                        <a:pt x="1328" y="416"/>
                        <a:pt x="1368" y="456"/>
                        <a:pt x="1368" y="506"/>
                      </a:cubicBezTo>
                      <a:cubicBezTo>
                        <a:pt x="1368" y="555"/>
                        <a:pt x="1328" y="595"/>
                        <a:pt x="1279" y="595"/>
                      </a:cubicBezTo>
                      <a:close/>
                      <a:moveTo>
                        <a:pt x="2005" y="866"/>
                      </a:moveTo>
                      <a:cubicBezTo>
                        <a:pt x="1885" y="866"/>
                        <a:pt x="1788" y="769"/>
                        <a:pt x="1788" y="649"/>
                      </a:cubicBezTo>
                      <a:cubicBezTo>
                        <a:pt x="1788" y="529"/>
                        <a:pt x="1885" y="432"/>
                        <a:pt x="2005" y="432"/>
                      </a:cubicBezTo>
                      <a:cubicBezTo>
                        <a:pt x="2125" y="432"/>
                        <a:pt x="2222" y="529"/>
                        <a:pt x="2222" y="649"/>
                      </a:cubicBezTo>
                      <a:cubicBezTo>
                        <a:pt x="2222" y="769"/>
                        <a:pt x="2125" y="866"/>
                        <a:pt x="2005" y="866"/>
                      </a:cubicBezTo>
                      <a:close/>
                      <a:moveTo>
                        <a:pt x="2835" y="611"/>
                      </a:moveTo>
                      <a:cubicBezTo>
                        <a:pt x="2835" y="635"/>
                        <a:pt x="2816" y="654"/>
                        <a:pt x="2792" y="654"/>
                      </a:cubicBezTo>
                      <a:cubicBezTo>
                        <a:pt x="2769" y="654"/>
                        <a:pt x="2750" y="635"/>
                        <a:pt x="2750" y="611"/>
                      </a:cubicBezTo>
                      <a:cubicBezTo>
                        <a:pt x="2750" y="588"/>
                        <a:pt x="2769" y="569"/>
                        <a:pt x="2792" y="569"/>
                      </a:cubicBezTo>
                      <a:cubicBezTo>
                        <a:pt x="2816" y="569"/>
                        <a:pt x="2835" y="588"/>
                        <a:pt x="2835" y="611"/>
                      </a:cubicBezTo>
                      <a:close/>
                      <a:moveTo>
                        <a:pt x="2685" y="413"/>
                      </a:moveTo>
                      <a:cubicBezTo>
                        <a:pt x="2635" y="413"/>
                        <a:pt x="2594" y="372"/>
                        <a:pt x="2594" y="321"/>
                      </a:cubicBezTo>
                      <a:cubicBezTo>
                        <a:pt x="2594" y="271"/>
                        <a:pt x="2635" y="230"/>
                        <a:pt x="2685" y="230"/>
                      </a:cubicBezTo>
                      <a:cubicBezTo>
                        <a:pt x="2736" y="230"/>
                        <a:pt x="2777" y="271"/>
                        <a:pt x="2777" y="321"/>
                      </a:cubicBezTo>
                      <a:cubicBezTo>
                        <a:pt x="2777" y="372"/>
                        <a:pt x="2736" y="413"/>
                        <a:pt x="2685" y="413"/>
                      </a:cubicBezTo>
                      <a:close/>
                      <a:moveTo>
                        <a:pt x="3020" y="855"/>
                      </a:moveTo>
                      <a:cubicBezTo>
                        <a:pt x="3008" y="855"/>
                        <a:pt x="2998" y="845"/>
                        <a:pt x="2998" y="833"/>
                      </a:cubicBezTo>
                      <a:cubicBezTo>
                        <a:pt x="2998" y="820"/>
                        <a:pt x="3008" y="810"/>
                        <a:pt x="3020" y="810"/>
                      </a:cubicBezTo>
                      <a:cubicBezTo>
                        <a:pt x="3032" y="810"/>
                        <a:pt x="3042" y="820"/>
                        <a:pt x="3042" y="833"/>
                      </a:cubicBezTo>
                      <a:cubicBezTo>
                        <a:pt x="3042" y="845"/>
                        <a:pt x="3032" y="855"/>
                        <a:pt x="3020" y="855"/>
                      </a:cubicBezTo>
                      <a:close/>
                      <a:moveTo>
                        <a:pt x="3147" y="564"/>
                      </a:moveTo>
                      <a:cubicBezTo>
                        <a:pt x="3094" y="564"/>
                        <a:pt x="3051" y="521"/>
                        <a:pt x="3051" y="468"/>
                      </a:cubicBezTo>
                      <a:cubicBezTo>
                        <a:pt x="3051" y="415"/>
                        <a:pt x="3094" y="372"/>
                        <a:pt x="3147" y="372"/>
                      </a:cubicBezTo>
                      <a:cubicBezTo>
                        <a:pt x="3200" y="372"/>
                        <a:pt x="3243" y="415"/>
                        <a:pt x="3243" y="468"/>
                      </a:cubicBezTo>
                      <a:cubicBezTo>
                        <a:pt x="3243" y="521"/>
                        <a:pt x="3200" y="564"/>
                        <a:pt x="3147" y="564"/>
                      </a:cubicBezTo>
                      <a:close/>
                      <a:moveTo>
                        <a:pt x="3540" y="633"/>
                      </a:moveTo>
                      <a:cubicBezTo>
                        <a:pt x="3564" y="633"/>
                        <a:pt x="3583" y="652"/>
                        <a:pt x="3583" y="675"/>
                      </a:cubicBezTo>
                      <a:cubicBezTo>
                        <a:pt x="3583" y="699"/>
                        <a:pt x="3564" y="718"/>
                        <a:pt x="3540" y="718"/>
                      </a:cubicBezTo>
                      <a:cubicBezTo>
                        <a:pt x="3517" y="718"/>
                        <a:pt x="3498" y="699"/>
                        <a:pt x="3498" y="675"/>
                      </a:cubicBezTo>
                      <a:cubicBezTo>
                        <a:pt x="3498" y="652"/>
                        <a:pt x="3517" y="633"/>
                        <a:pt x="3540" y="633"/>
                      </a:cubicBezTo>
                      <a:close/>
                      <a:moveTo>
                        <a:pt x="3442" y="433"/>
                      </a:moveTo>
                      <a:cubicBezTo>
                        <a:pt x="3430" y="433"/>
                        <a:pt x="3420" y="423"/>
                        <a:pt x="3420" y="411"/>
                      </a:cubicBezTo>
                      <a:cubicBezTo>
                        <a:pt x="3420" y="398"/>
                        <a:pt x="3430" y="388"/>
                        <a:pt x="3442" y="388"/>
                      </a:cubicBezTo>
                      <a:cubicBezTo>
                        <a:pt x="3454" y="388"/>
                        <a:pt x="3464" y="398"/>
                        <a:pt x="3464" y="411"/>
                      </a:cubicBezTo>
                      <a:cubicBezTo>
                        <a:pt x="3464" y="423"/>
                        <a:pt x="3454" y="433"/>
                        <a:pt x="3442" y="433"/>
                      </a:cubicBezTo>
                      <a:close/>
                      <a:moveTo>
                        <a:pt x="3618" y="240"/>
                      </a:moveTo>
                      <a:cubicBezTo>
                        <a:pt x="3575" y="240"/>
                        <a:pt x="3539" y="205"/>
                        <a:pt x="3539" y="161"/>
                      </a:cubicBezTo>
                      <a:cubicBezTo>
                        <a:pt x="3539" y="117"/>
                        <a:pt x="3575" y="82"/>
                        <a:pt x="3618" y="82"/>
                      </a:cubicBezTo>
                      <a:cubicBezTo>
                        <a:pt x="3662" y="82"/>
                        <a:pt x="3697" y="117"/>
                        <a:pt x="3697" y="161"/>
                      </a:cubicBezTo>
                      <a:cubicBezTo>
                        <a:pt x="3697" y="205"/>
                        <a:pt x="3662" y="240"/>
                        <a:pt x="3618" y="240"/>
                      </a:cubicBezTo>
                      <a:close/>
                      <a:moveTo>
                        <a:pt x="3930" y="414"/>
                      </a:moveTo>
                      <a:cubicBezTo>
                        <a:pt x="3907" y="414"/>
                        <a:pt x="3888" y="395"/>
                        <a:pt x="3888" y="371"/>
                      </a:cubicBezTo>
                      <a:cubicBezTo>
                        <a:pt x="3888" y="348"/>
                        <a:pt x="3907" y="329"/>
                        <a:pt x="3930" y="329"/>
                      </a:cubicBezTo>
                      <a:cubicBezTo>
                        <a:pt x="3954" y="329"/>
                        <a:pt x="3973" y="348"/>
                        <a:pt x="3973" y="371"/>
                      </a:cubicBezTo>
                      <a:cubicBezTo>
                        <a:pt x="3973" y="395"/>
                        <a:pt x="3954" y="414"/>
                        <a:pt x="3930" y="4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sp>
            <p:nvSpPr>
              <p:cNvPr id="25" name="Rechteck 24"/>
              <p:cNvSpPr/>
              <p:nvPr userDrawn="1"/>
            </p:nvSpPr>
            <p:spPr>
              <a:xfrm>
                <a:off x="0" y="0"/>
                <a:ext cx="12190413" cy="6858000"/>
              </a:xfrm>
              <a:prstGeom prst="rect">
                <a:avLst/>
              </a:prstGeom>
              <a:gradFill flip="none" rotWithShape="0">
                <a:gsLst>
                  <a:gs pos="0">
                    <a:schemeClr val="tx1">
                      <a:alpha val="90000"/>
                    </a:schemeClr>
                  </a:gs>
                  <a:gs pos="50000">
                    <a:schemeClr val="tx1">
                      <a:lumMod val="85000"/>
                      <a:lumOff val="15000"/>
                      <a:alpha val="50000"/>
                    </a:schemeClr>
                  </a:gs>
                  <a:gs pos="100000">
                    <a:schemeClr val="tx1">
                      <a:lumMod val="65000"/>
                      <a:lumOff val="35000"/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bg1"/>
                </a:solidFill>
                <a:latin typeface="Bebas Neue" panose="020B0506020202020201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29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32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192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01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3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9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33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63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63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-279401" y="5"/>
            <a:ext cx="12749214" cy="6869863"/>
            <a:chOff x="-279401" y="0"/>
            <a:chExt cx="12749213" cy="6869863"/>
          </a:xfrm>
        </p:grpSpPr>
        <p:grpSp>
          <p:nvGrpSpPr>
            <p:cNvPr id="33" name="Gruppieren 32"/>
            <p:cNvGrpSpPr/>
            <p:nvPr userDrawn="1"/>
          </p:nvGrpSpPr>
          <p:grpSpPr>
            <a:xfrm>
              <a:off x="0" y="0"/>
              <a:ext cx="12190413" cy="6858000"/>
              <a:chOff x="0" y="0"/>
              <a:chExt cx="12190413" cy="6858000"/>
            </a:xfrm>
            <a:solidFill>
              <a:schemeClr val="accent1">
                <a:lumMod val="50000"/>
              </a:schemeClr>
            </a:solidFill>
          </p:grpSpPr>
          <p:sp>
            <p:nvSpPr>
              <p:cNvPr id="34" name="Rechteck 33"/>
              <p:cNvSpPr/>
              <p:nvPr userDrawn="1"/>
            </p:nvSpPr>
            <p:spPr bwMode="auto">
              <a:xfrm>
                <a:off x="0" y="0"/>
                <a:ext cx="12190413" cy="6858000"/>
              </a:xfrm>
              <a:prstGeom prst="rect">
                <a:avLst/>
              </a:pr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1" tIns="45715" rIns="91431" bIns="45715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grpSp>
            <p:nvGrpSpPr>
              <p:cNvPr id="35" name="Gruppieren 34"/>
              <p:cNvGrpSpPr/>
              <p:nvPr userDrawn="1"/>
            </p:nvGrpSpPr>
            <p:grpSpPr>
              <a:xfrm>
                <a:off x="80228" y="4852085"/>
                <a:ext cx="12110185" cy="2005914"/>
                <a:chOff x="80228" y="4852085"/>
                <a:chExt cx="12110185" cy="2005914"/>
              </a:xfrm>
              <a:grpFill/>
            </p:grpSpPr>
            <p:sp>
              <p:nvSpPr>
                <p:cNvPr id="37" name="Freeform 15"/>
                <p:cNvSpPr>
                  <a:spLocks/>
                </p:cNvSpPr>
                <p:nvPr userDrawn="1"/>
              </p:nvSpPr>
              <p:spPr bwMode="auto">
                <a:xfrm>
                  <a:off x="80228" y="4852085"/>
                  <a:ext cx="12108033" cy="2001797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" name="Freeform 15"/>
                <p:cNvSpPr>
                  <a:spLocks/>
                </p:cNvSpPr>
                <p:nvPr userDrawn="1"/>
              </p:nvSpPr>
              <p:spPr bwMode="auto">
                <a:xfrm>
                  <a:off x="2191718" y="5482769"/>
                  <a:ext cx="9998695" cy="1375230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22" name="Gruppieren 21"/>
            <p:cNvGrpSpPr/>
            <p:nvPr userDrawn="1"/>
          </p:nvGrpSpPr>
          <p:grpSpPr>
            <a:xfrm>
              <a:off x="-279401" y="3058276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40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1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3" name="Rechteck 42"/>
            <p:cNvSpPr/>
            <p:nvPr userDrawn="1"/>
          </p:nvSpPr>
          <p:spPr>
            <a:xfrm>
              <a:off x="-12139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44" name="Rechteck 43"/>
            <p:cNvSpPr/>
            <p:nvPr userDrawn="1"/>
          </p:nvSpPr>
          <p:spPr>
            <a:xfrm>
              <a:off x="-12139" y="5817351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accent1">
                    <a:lumMod val="40000"/>
                    <a:lumOff val="60000"/>
                  </a:schemeClr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chemeClr val="bg1"/>
                </a:solidFill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SUBTITL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6DA520-33DD-4483-AC41-0295C801D9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0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 userDrawn="1"/>
        </p:nvGrpSpPr>
        <p:grpSpPr>
          <a:xfrm>
            <a:off x="0" y="0"/>
            <a:ext cx="12190413" cy="6858000"/>
            <a:chOff x="0" y="0"/>
            <a:chExt cx="12190413" cy="6858000"/>
          </a:xfrm>
          <a:solidFill>
            <a:schemeClr val="accent1">
              <a:lumMod val="50000"/>
            </a:schemeClr>
          </a:solidFill>
        </p:grpSpPr>
        <p:sp>
          <p:nvSpPr>
            <p:cNvPr id="18" name="Rechteck 17"/>
            <p:cNvSpPr/>
            <p:nvPr userDrawn="1"/>
          </p:nvSpPr>
          <p:spPr bwMode="auto">
            <a:xfrm>
              <a:off x="0" y="0"/>
              <a:ext cx="12190413" cy="6858000"/>
            </a:xfrm>
            <a:prstGeom prst="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31" tIns="45715" rIns="91431" bIns="45715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grpSp>
          <p:nvGrpSpPr>
            <p:cNvPr id="19" name="Gruppieren 18"/>
            <p:cNvGrpSpPr/>
            <p:nvPr userDrawn="1"/>
          </p:nvGrpSpPr>
          <p:grpSpPr>
            <a:xfrm>
              <a:off x="80228" y="4852085"/>
              <a:ext cx="12110185" cy="2005914"/>
              <a:chOff x="80228" y="4852085"/>
              <a:chExt cx="12110185" cy="2005914"/>
            </a:xfrm>
            <a:grpFill/>
          </p:grpSpPr>
          <p:sp>
            <p:nvSpPr>
              <p:cNvPr id="20" name="Freeform 15"/>
              <p:cNvSpPr>
                <a:spLocks/>
              </p:cNvSpPr>
              <p:nvPr userDrawn="1"/>
            </p:nvSpPr>
            <p:spPr bwMode="auto">
              <a:xfrm>
                <a:off x="80228" y="4852085"/>
                <a:ext cx="12108033" cy="2001797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15"/>
              <p:cNvSpPr>
                <a:spLocks/>
              </p:cNvSpPr>
              <p:nvPr userDrawn="1"/>
            </p:nvSpPr>
            <p:spPr bwMode="auto">
              <a:xfrm>
                <a:off x="2191718" y="5482769"/>
                <a:ext cx="9998695" cy="1375230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36" name="Rechteck 35"/>
          <p:cNvSpPr/>
          <p:nvPr userDrawn="1"/>
        </p:nvSpPr>
        <p:spPr>
          <a:xfrm>
            <a:off x="-12137" y="0"/>
            <a:ext cx="12190413" cy="6858000"/>
          </a:xfrm>
          <a:prstGeom prst="rect">
            <a:avLst/>
          </a:prstGeom>
          <a:gradFill flip="none" rotWithShape="0">
            <a:gsLst>
              <a:gs pos="0">
                <a:schemeClr val="tx2">
                  <a:lumMod val="5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 rot="20232963">
            <a:off x="103011" y="2823991"/>
            <a:ext cx="12749214" cy="3163887"/>
            <a:chOff x="-276225" y="3046413"/>
            <a:chExt cx="12749213" cy="316388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Oval 6"/>
            <p:cNvSpPr>
              <a:spLocks noChangeArrowheads="1"/>
            </p:cNvSpPr>
            <p:nvPr userDrawn="1"/>
          </p:nvSpPr>
          <p:spPr bwMode="auto">
            <a:xfrm>
              <a:off x="5694363" y="4705350"/>
              <a:ext cx="782638" cy="781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7"/>
            <p:cNvSpPr>
              <a:spLocks noEditPoints="1"/>
            </p:cNvSpPr>
            <p:nvPr userDrawn="1"/>
          </p:nvSpPr>
          <p:spPr bwMode="auto">
            <a:xfrm>
              <a:off x="-276225" y="3046413"/>
              <a:ext cx="12749213" cy="3163887"/>
            </a:xfrm>
            <a:custGeom>
              <a:avLst/>
              <a:gdLst>
                <a:gd name="T0" fmla="*/ 3618 w 4014"/>
                <a:gd name="T1" fmla="*/ 28 h 996"/>
                <a:gd name="T2" fmla="*/ 3397 w 4014"/>
                <a:gd name="T3" fmla="*/ 411 h 996"/>
                <a:gd name="T4" fmla="*/ 2836 w 4014"/>
                <a:gd name="T5" fmla="*/ 365 h 996"/>
                <a:gd name="T6" fmla="*/ 2841 w 4014"/>
                <a:gd name="T7" fmla="*/ 65 h 996"/>
                <a:gd name="T8" fmla="*/ 2685 w 4014"/>
                <a:gd name="T9" fmla="*/ 168 h 996"/>
                <a:gd name="T10" fmla="*/ 2523 w 4014"/>
                <a:gd name="T11" fmla="*/ 134 h 996"/>
                <a:gd name="T12" fmla="*/ 2553 w 4014"/>
                <a:gd name="T13" fmla="*/ 407 h 996"/>
                <a:gd name="T14" fmla="*/ 1431 w 4014"/>
                <a:gd name="T15" fmla="*/ 508 h 996"/>
                <a:gd name="T16" fmla="*/ 1378 w 4014"/>
                <a:gd name="T17" fmla="*/ 180 h 996"/>
                <a:gd name="T18" fmla="*/ 1149 w 4014"/>
                <a:gd name="T19" fmla="*/ 430 h 996"/>
                <a:gd name="T20" fmla="*/ 794 w 4014"/>
                <a:gd name="T21" fmla="*/ 80 h 996"/>
                <a:gd name="T22" fmla="*/ 780 w 4014"/>
                <a:gd name="T23" fmla="*/ 87 h 996"/>
                <a:gd name="T24" fmla="*/ 706 w 4014"/>
                <a:gd name="T25" fmla="*/ 344 h 996"/>
                <a:gd name="T26" fmla="*/ 231 w 4014"/>
                <a:gd name="T27" fmla="*/ 199 h 996"/>
                <a:gd name="T28" fmla="*/ 84 w 4014"/>
                <a:gd name="T29" fmla="*/ 207 h 996"/>
                <a:gd name="T30" fmla="*/ 230 w 4014"/>
                <a:gd name="T31" fmla="*/ 516 h 996"/>
                <a:gd name="T32" fmla="*/ 244 w 4014"/>
                <a:gd name="T33" fmla="*/ 523 h 996"/>
                <a:gd name="T34" fmla="*/ 653 w 4014"/>
                <a:gd name="T35" fmla="*/ 397 h 996"/>
                <a:gd name="T36" fmla="*/ 902 w 4014"/>
                <a:gd name="T37" fmla="*/ 346 h 996"/>
                <a:gd name="T38" fmla="*/ 1068 w 4014"/>
                <a:gd name="T39" fmla="*/ 567 h 996"/>
                <a:gd name="T40" fmla="*/ 1073 w 4014"/>
                <a:gd name="T41" fmla="*/ 583 h 996"/>
                <a:gd name="T42" fmla="*/ 1341 w 4014"/>
                <a:gd name="T43" fmla="*/ 711 h 996"/>
                <a:gd name="T44" fmla="*/ 1353 w 4014"/>
                <a:gd name="T45" fmla="*/ 641 h 996"/>
                <a:gd name="T46" fmla="*/ 2350 w 4014"/>
                <a:gd name="T47" fmla="*/ 651 h 996"/>
                <a:gd name="T48" fmla="*/ 2757 w 4014"/>
                <a:gd name="T49" fmla="*/ 535 h 996"/>
                <a:gd name="T50" fmla="*/ 2773 w 4014"/>
                <a:gd name="T51" fmla="*/ 530 h 996"/>
                <a:gd name="T52" fmla="*/ 3085 w 4014"/>
                <a:gd name="T53" fmla="*/ 622 h 996"/>
                <a:gd name="T54" fmla="*/ 3065 w 4014"/>
                <a:gd name="T55" fmla="*/ 833 h 996"/>
                <a:gd name="T56" fmla="*/ 3459 w 4014"/>
                <a:gd name="T57" fmla="*/ 656 h 996"/>
                <a:gd name="T58" fmla="*/ 3464 w 4014"/>
                <a:gd name="T59" fmla="*/ 641 h 996"/>
                <a:gd name="T60" fmla="*/ 3442 w 4014"/>
                <a:gd name="T61" fmla="*/ 456 h 996"/>
                <a:gd name="T62" fmla="*/ 3726 w 4014"/>
                <a:gd name="T63" fmla="*/ 244 h 996"/>
                <a:gd name="T64" fmla="*/ 3930 w 4014"/>
                <a:gd name="T65" fmla="*/ 287 h 996"/>
                <a:gd name="T66" fmla="*/ 2796 w 4014"/>
                <a:gd name="T67" fmla="*/ 42 h 996"/>
                <a:gd name="T68" fmla="*/ 2536 w 4014"/>
                <a:gd name="T69" fmla="*/ 134 h 996"/>
                <a:gd name="T70" fmla="*/ 1378 w 4014"/>
                <a:gd name="T71" fmla="*/ 202 h 996"/>
                <a:gd name="T72" fmla="*/ 744 w 4014"/>
                <a:gd name="T73" fmla="*/ 45 h 996"/>
                <a:gd name="T74" fmla="*/ 84 w 4014"/>
                <a:gd name="T75" fmla="*/ 166 h 996"/>
                <a:gd name="T76" fmla="*/ 214 w 4014"/>
                <a:gd name="T77" fmla="*/ 593 h 996"/>
                <a:gd name="T78" fmla="*/ 388 w 4014"/>
                <a:gd name="T79" fmla="*/ 385 h 996"/>
                <a:gd name="T80" fmla="*/ 706 w 4014"/>
                <a:gd name="T81" fmla="*/ 423 h 996"/>
                <a:gd name="T82" fmla="*/ 902 w 4014"/>
                <a:gd name="T83" fmla="*/ 298 h 996"/>
                <a:gd name="T84" fmla="*/ 1028 w 4014"/>
                <a:gd name="T85" fmla="*/ 611 h 996"/>
                <a:gd name="T86" fmla="*/ 1408 w 4014"/>
                <a:gd name="T87" fmla="*/ 711 h 996"/>
                <a:gd name="T88" fmla="*/ 1279 w 4014"/>
                <a:gd name="T89" fmla="*/ 595 h 996"/>
                <a:gd name="T90" fmla="*/ 2005 w 4014"/>
                <a:gd name="T91" fmla="*/ 866 h 996"/>
                <a:gd name="T92" fmla="*/ 2835 w 4014"/>
                <a:gd name="T93" fmla="*/ 611 h 996"/>
                <a:gd name="T94" fmla="*/ 2685 w 4014"/>
                <a:gd name="T95" fmla="*/ 413 h 996"/>
                <a:gd name="T96" fmla="*/ 3020 w 4014"/>
                <a:gd name="T97" fmla="*/ 855 h 996"/>
                <a:gd name="T98" fmla="*/ 3147 w 4014"/>
                <a:gd name="T99" fmla="*/ 564 h 996"/>
                <a:gd name="T100" fmla="*/ 3540 w 4014"/>
                <a:gd name="T101" fmla="*/ 633 h 996"/>
                <a:gd name="T102" fmla="*/ 3442 w 4014"/>
                <a:gd name="T103" fmla="*/ 433 h 996"/>
                <a:gd name="T104" fmla="*/ 3618 w 4014"/>
                <a:gd name="T105" fmla="*/ 240 h 996"/>
                <a:gd name="T106" fmla="*/ 3930 w 4014"/>
                <a:gd name="T107" fmla="*/ 414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14" h="996">
                  <a:moveTo>
                    <a:pt x="3930" y="287"/>
                  </a:moveTo>
                  <a:cubicBezTo>
                    <a:pt x="3903" y="287"/>
                    <a:pt x="3880" y="300"/>
                    <a:pt x="3864" y="320"/>
                  </a:cubicBezTo>
                  <a:cubicBezTo>
                    <a:pt x="3735" y="231"/>
                    <a:pt x="3735" y="231"/>
                    <a:pt x="3735" y="231"/>
                  </a:cubicBezTo>
                  <a:cubicBezTo>
                    <a:pt x="3747" y="211"/>
                    <a:pt x="3753" y="188"/>
                    <a:pt x="3753" y="163"/>
                  </a:cubicBezTo>
                  <a:cubicBezTo>
                    <a:pt x="3753" y="88"/>
                    <a:pt x="3693" y="28"/>
                    <a:pt x="3618" y="28"/>
                  </a:cubicBezTo>
                  <a:cubicBezTo>
                    <a:pt x="3544" y="28"/>
                    <a:pt x="3483" y="88"/>
                    <a:pt x="3483" y="163"/>
                  </a:cubicBezTo>
                  <a:cubicBezTo>
                    <a:pt x="3483" y="207"/>
                    <a:pt x="3505" y="247"/>
                    <a:pt x="3538" y="272"/>
                  </a:cubicBezTo>
                  <a:cubicBezTo>
                    <a:pt x="3464" y="372"/>
                    <a:pt x="3464" y="372"/>
                    <a:pt x="3464" y="372"/>
                  </a:cubicBezTo>
                  <a:cubicBezTo>
                    <a:pt x="3458" y="368"/>
                    <a:pt x="3450" y="366"/>
                    <a:pt x="3442" y="366"/>
                  </a:cubicBezTo>
                  <a:cubicBezTo>
                    <a:pt x="3417" y="366"/>
                    <a:pt x="3397" y="386"/>
                    <a:pt x="3397" y="411"/>
                  </a:cubicBezTo>
                  <a:cubicBezTo>
                    <a:pt x="3397" y="412"/>
                    <a:pt x="3397" y="412"/>
                    <a:pt x="3397" y="413"/>
                  </a:cubicBezTo>
                  <a:cubicBezTo>
                    <a:pt x="3304" y="424"/>
                    <a:pt x="3304" y="424"/>
                    <a:pt x="3304" y="424"/>
                  </a:cubicBezTo>
                  <a:cubicBezTo>
                    <a:pt x="3284" y="357"/>
                    <a:pt x="3221" y="307"/>
                    <a:pt x="3147" y="307"/>
                  </a:cubicBezTo>
                  <a:cubicBezTo>
                    <a:pt x="3077" y="307"/>
                    <a:pt x="3017" y="351"/>
                    <a:pt x="2994" y="414"/>
                  </a:cubicBezTo>
                  <a:cubicBezTo>
                    <a:pt x="2836" y="365"/>
                    <a:pt x="2836" y="365"/>
                    <a:pt x="2836" y="365"/>
                  </a:cubicBezTo>
                  <a:cubicBezTo>
                    <a:pt x="2839" y="352"/>
                    <a:pt x="2841" y="338"/>
                    <a:pt x="2841" y="324"/>
                  </a:cubicBezTo>
                  <a:cubicBezTo>
                    <a:pt x="2841" y="263"/>
                    <a:pt x="2807" y="211"/>
                    <a:pt x="2757" y="185"/>
                  </a:cubicBezTo>
                  <a:cubicBezTo>
                    <a:pt x="2787" y="109"/>
                    <a:pt x="2787" y="109"/>
                    <a:pt x="2787" y="109"/>
                  </a:cubicBezTo>
                  <a:cubicBezTo>
                    <a:pt x="2790" y="109"/>
                    <a:pt x="2793" y="110"/>
                    <a:pt x="2796" y="110"/>
                  </a:cubicBezTo>
                  <a:cubicBezTo>
                    <a:pt x="2821" y="110"/>
                    <a:pt x="2841" y="89"/>
                    <a:pt x="2841" y="65"/>
                  </a:cubicBezTo>
                  <a:cubicBezTo>
                    <a:pt x="2841" y="40"/>
                    <a:pt x="2821" y="20"/>
                    <a:pt x="2796" y="20"/>
                  </a:cubicBezTo>
                  <a:cubicBezTo>
                    <a:pt x="2771" y="20"/>
                    <a:pt x="2751" y="40"/>
                    <a:pt x="2751" y="65"/>
                  </a:cubicBezTo>
                  <a:cubicBezTo>
                    <a:pt x="2751" y="81"/>
                    <a:pt x="2760" y="95"/>
                    <a:pt x="2772" y="103"/>
                  </a:cubicBezTo>
                  <a:cubicBezTo>
                    <a:pt x="2742" y="179"/>
                    <a:pt x="2742" y="179"/>
                    <a:pt x="2742" y="179"/>
                  </a:cubicBezTo>
                  <a:cubicBezTo>
                    <a:pt x="2724" y="172"/>
                    <a:pt x="2705" y="168"/>
                    <a:pt x="2685" y="168"/>
                  </a:cubicBezTo>
                  <a:cubicBezTo>
                    <a:pt x="2658" y="168"/>
                    <a:pt x="2632" y="175"/>
                    <a:pt x="2609" y="188"/>
                  </a:cubicBezTo>
                  <a:cubicBezTo>
                    <a:pt x="2575" y="151"/>
                    <a:pt x="2575" y="151"/>
                    <a:pt x="2575" y="151"/>
                  </a:cubicBezTo>
                  <a:cubicBezTo>
                    <a:pt x="2579" y="146"/>
                    <a:pt x="2581" y="140"/>
                    <a:pt x="2581" y="134"/>
                  </a:cubicBezTo>
                  <a:cubicBezTo>
                    <a:pt x="2581" y="118"/>
                    <a:pt x="2568" y="105"/>
                    <a:pt x="2552" y="105"/>
                  </a:cubicBezTo>
                  <a:cubicBezTo>
                    <a:pt x="2536" y="105"/>
                    <a:pt x="2523" y="118"/>
                    <a:pt x="2523" y="134"/>
                  </a:cubicBezTo>
                  <a:cubicBezTo>
                    <a:pt x="2523" y="150"/>
                    <a:pt x="2536" y="163"/>
                    <a:pt x="2552" y="163"/>
                  </a:cubicBezTo>
                  <a:cubicBezTo>
                    <a:pt x="2556" y="163"/>
                    <a:pt x="2559" y="162"/>
                    <a:pt x="2563" y="161"/>
                  </a:cubicBezTo>
                  <a:cubicBezTo>
                    <a:pt x="2595" y="196"/>
                    <a:pt x="2595" y="196"/>
                    <a:pt x="2595" y="196"/>
                  </a:cubicBezTo>
                  <a:cubicBezTo>
                    <a:pt x="2555" y="225"/>
                    <a:pt x="2529" y="271"/>
                    <a:pt x="2529" y="324"/>
                  </a:cubicBezTo>
                  <a:cubicBezTo>
                    <a:pt x="2529" y="354"/>
                    <a:pt x="2538" y="383"/>
                    <a:pt x="2553" y="407"/>
                  </a:cubicBezTo>
                  <a:cubicBezTo>
                    <a:pt x="2334" y="546"/>
                    <a:pt x="2334" y="546"/>
                    <a:pt x="2334" y="546"/>
                  </a:cubicBezTo>
                  <a:cubicBezTo>
                    <a:pt x="2290" y="407"/>
                    <a:pt x="2159" y="306"/>
                    <a:pt x="2005" y="306"/>
                  </a:cubicBezTo>
                  <a:cubicBezTo>
                    <a:pt x="1840" y="306"/>
                    <a:pt x="1702" y="422"/>
                    <a:pt x="1668" y="577"/>
                  </a:cubicBezTo>
                  <a:cubicBezTo>
                    <a:pt x="1429" y="537"/>
                    <a:pt x="1429" y="537"/>
                    <a:pt x="1429" y="537"/>
                  </a:cubicBezTo>
                  <a:cubicBezTo>
                    <a:pt x="1430" y="527"/>
                    <a:pt x="1431" y="518"/>
                    <a:pt x="1431" y="508"/>
                  </a:cubicBezTo>
                  <a:cubicBezTo>
                    <a:pt x="1431" y="442"/>
                    <a:pt x="1390" y="386"/>
                    <a:pt x="1331" y="365"/>
                  </a:cubicBezTo>
                  <a:cubicBezTo>
                    <a:pt x="1374" y="269"/>
                    <a:pt x="1374" y="269"/>
                    <a:pt x="1374" y="269"/>
                  </a:cubicBezTo>
                  <a:cubicBezTo>
                    <a:pt x="1375" y="270"/>
                    <a:pt x="1377" y="270"/>
                    <a:pt x="1378" y="270"/>
                  </a:cubicBezTo>
                  <a:cubicBezTo>
                    <a:pt x="1403" y="270"/>
                    <a:pt x="1423" y="249"/>
                    <a:pt x="1423" y="225"/>
                  </a:cubicBezTo>
                  <a:cubicBezTo>
                    <a:pt x="1423" y="200"/>
                    <a:pt x="1403" y="180"/>
                    <a:pt x="1378" y="180"/>
                  </a:cubicBezTo>
                  <a:cubicBezTo>
                    <a:pt x="1353" y="180"/>
                    <a:pt x="1333" y="200"/>
                    <a:pt x="1333" y="225"/>
                  </a:cubicBezTo>
                  <a:cubicBezTo>
                    <a:pt x="1333" y="242"/>
                    <a:pt x="1343" y="258"/>
                    <a:pt x="1358" y="265"/>
                  </a:cubicBezTo>
                  <a:cubicBezTo>
                    <a:pt x="1316" y="360"/>
                    <a:pt x="1316" y="360"/>
                    <a:pt x="1316" y="360"/>
                  </a:cubicBezTo>
                  <a:cubicBezTo>
                    <a:pt x="1304" y="358"/>
                    <a:pt x="1292" y="356"/>
                    <a:pt x="1279" y="356"/>
                  </a:cubicBezTo>
                  <a:cubicBezTo>
                    <a:pt x="1224" y="356"/>
                    <a:pt x="1176" y="385"/>
                    <a:pt x="1149" y="430"/>
                  </a:cubicBezTo>
                  <a:cubicBezTo>
                    <a:pt x="994" y="297"/>
                    <a:pt x="994" y="297"/>
                    <a:pt x="994" y="297"/>
                  </a:cubicBezTo>
                  <a:cubicBezTo>
                    <a:pt x="1006" y="280"/>
                    <a:pt x="1013" y="258"/>
                    <a:pt x="1013" y="235"/>
                  </a:cubicBezTo>
                  <a:cubicBezTo>
                    <a:pt x="1013" y="174"/>
                    <a:pt x="964" y="124"/>
                    <a:pt x="902" y="124"/>
                  </a:cubicBezTo>
                  <a:cubicBezTo>
                    <a:pt x="879" y="124"/>
                    <a:pt x="858" y="131"/>
                    <a:pt x="840" y="143"/>
                  </a:cubicBezTo>
                  <a:cubicBezTo>
                    <a:pt x="794" y="80"/>
                    <a:pt x="794" y="80"/>
                    <a:pt x="794" y="80"/>
                  </a:cubicBezTo>
                  <a:cubicBezTo>
                    <a:pt x="804" y="72"/>
                    <a:pt x="811" y="59"/>
                    <a:pt x="811" y="45"/>
                  </a:cubicBezTo>
                  <a:cubicBezTo>
                    <a:pt x="811" y="20"/>
                    <a:pt x="791" y="0"/>
                    <a:pt x="766" y="0"/>
                  </a:cubicBezTo>
                  <a:cubicBezTo>
                    <a:pt x="741" y="0"/>
                    <a:pt x="721" y="20"/>
                    <a:pt x="721" y="45"/>
                  </a:cubicBezTo>
                  <a:cubicBezTo>
                    <a:pt x="721" y="69"/>
                    <a:pt x="741" y="90"/>
                    <a:pt x="766" y="90"/>
                  </a:cubicBezTo>
                  <a:cubicBezTo>
                    <a:pt x="771" y="90"/>
                    <a:pt x="775" y="89"/>
                    <a:pt x="780" y="87"/>
                  </a:cubicBezTo>
                  <a:cubicBezTo>
                    <a:pt x="827" y="153"/>
                    <a:pt x="827" y="153"/>
                    <a:pt x="827" y="153"/>
                  </a:cubicBezTo>
                  <a:cubicBezTo>
                    <a:pt x="805" y="173"/>
                    <a:pt x="791" y="203"/>
                    <a:pt x="791" y="235"/>
                  </a:cubicBezTo>
                  <a:cubicBezTo>
                    <a:pt x="791" y="256"/>
                    <a:pt x="797" y="276"/>
                    <a:pt x="808" y="293"/>
                  </a:cubicBezTo>
                  <a:cubicBezTo>
                    <a:pt x="741" y="357"/>
                    <a:pt x="741" y="357"/>
                    <a:pt x="741" y="357"/>
                  </a:cubicBezTo>
                  <a:cubicBezTo>
                    <a:pt x="732" y="349"/>
                    <a:pt x="719" y="344"/>
                    <a:pt x="706" y="344"/>
                  </a:cubicBezTo>
                  <a:cubicBezTo>
                    <a:pt x="686" y="344"/>
                    <a:pt x="669" y="355"/>
                    <a:pt x="660" y="371"/>
                  </a:cubicBezTo>
                  <a:cubicBezTo>
                    <a:pt x="564" y="325"/>
                    <a:pt x="564" y="325"/>
                    <a:pt x="564" y="325"/>
                  </a:cubicBezTo>
                  <a:cubicBezTo>
                    <a:pt x="567" y="312"/>
                    <a:pt x="569" y="298"/>
                    <a:pt x="569" y="285"/>
                  </a:cubicBezTo>
                  <a:cubicBezTo>
                    <a:pt x="569" y="188"/>
                    <a:pt x="488" y="109"/>
                    <a:pt x="388" y="109"/>
                  </a:cubicBezTo>
                  <a:cubicBezTo>
                    <a:pt x="320" y="109"/>
                    <a:pt x="261" y="146"/>
                    <a:pt x="231" y="199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66" y="145"/>
                    <a:pt x="168" y="135"/>
                    <a:pt x="168" y="123"/>
                  </a:cubicBezTo>
                  <a:cubicBezTo>
                    <a:pt x="168" y="77"/>
                    <a:pt x="131" y="39"/>
                    <a:pt x="84" y="39"/>
                  </a:cubicBezTo>
                  <a:cubicBezTo>
                    <a:pt x="38" y="39"/>
                    <a:pt x="0" y="77"/>
                    <a:pt x="0" y="123"/>
                  </a:cubicBezTo>
                  <a:cubicBezTo>
                    <a:pt x="0" y="170"/>
                    <a:pt x="38" y="207"/>
                    <a:pt x="84" y="207"/>
                  </a:cubicBezTo>
                  <a:cubicBezTo>
                    <a:pt x="114" y="207"/>
                    <a:pt x="139" y="192"/>
                    <a:pt x="154" y="170"/>
                  </a:cubicBezTo>
                  <a:cubicBezTo>
                    <a:pt x="223" y="214"/>
                    <a:pt x="223" y="214"/>
                    <a:pt x="223" y="214"/>
                  </a:cubicBezTo>
                  <a:cubicBezTo>
                    <a:pt x="213" y="235"/>
                    <a:pt x="208" y="259"/>
                    <a:pt x="208" y="285"/>
                  </a:cubicBezTo>
                  <a:cubicBezTo>
                    <a:pt x="208" y="344"/>
                    <a:pt x="239" y="397"/>
                    <a:pt x="286" y="429"/>
                  </a:cubicBezTo>
                  <a:cubicBezTo>
                    <a:pt x="230" y="516"/>
                    <a:pt x="230" y="516"/>
                    <a:pt x="230" y="516"/>
                  </a:cubicBezTo>
                  <a:cubicBezTo>
                    <a:pt x="225" y="514"/>
                    <a:pt x="220" y="514"/>
                    <a:pt x="214" y="514"/>
                  </a:cubicBezTo>
                  <a:cubicBezTo>
                    <a:pt x="185" y="514"/>
                    <a:pt x="161" y="537"/>
                    <a:pt x="161" y="567"/>
                  </a:cubicBezTo>
                  <a:cubicBezTo>
                    <a:pt x="161" y="596"/>
                    <a:pt x="185" y="620"/>
                    <a:pt x="214" y="620"/>
                  </a:cubicBezTo>
                  <a:cubicBezTo>
                    <a:pt x="243" y="620"/>
                    <a:pt x="267" y="596"/>
                    <a:pt x="267" y="567"/>
                  </a:cubicBezTo>
                  <a:cubicBezTo>
                    <a:pt x="267" y="549"/>
                    <a:pt x="258" y="533"/>
                    <a:pt x="244" y="523"/>
                  </a:cubicBezTo>
                  <a:cubicBezTo>
                    <a:pt x="300" y="437"/>
                    <a:pt x="300" y="437"/>
                    <a:pt x="300" y="437"/>
                  </a:cubicBezTo>
                  <a:cubicBezTo>
                    <a:pt x="326" y="452"/>
                    <a:pt x="356" y="460"/>
                    <a:pt x="388" y="460"/>
                  </a:cubicBezTo>
                  <a:cubicBezTo>
                    <a:pt x="468" y="460"/>
                    <a:pt x="535" y="410"/>
                    <a:pt x="559" y="340"/>
                  </a:cubicBezTo>
                  <a:cubicBezTo>
                    <a:pt x="654" y="386"/>
                    <a:pt x="654" y="386"/>
                    <a:pt x="654" y="386"/>
                  </a:cubicBezTo>
                  <a:cubicBezTo>
                    <a:pt x="653" y="389"/>
                    <a:pt x="653" y="393"/>
                    <a:pt x="653" y="397"/>
                  </a:cubicBezTo>
                  <a:cubicBezTo>
                    <a:pt x="653" y="426"/>
                    <a:pt x="677" y="450"/>
                    <a:pt x="706" y="450"/>
                  </a:cubicBezTo>
                  <a:cubicBezTo>
                    <a:pt x="735" y="450"/>
                    <a:pt x="759" y="426"/>
                    <a:pt x="759" y="397"/>
                  </a:cubicBezTo>
                  <a:cubicBezTo>
                    <a:pt x="759" y="387"/>
                    <a:pt x="756" y="377"/>
                    <a:pt x="751" y="369"/>
                  </a:cubicBezTo>
                  <a:cubicBezTo>
                    <a:pt x="817" y="306"/>
                    <a:pt x="817" y="306"/>
                    <a:pt x="817" y="306"/>
                  </a:cubicBezTo>
                  <a:cubicBezTo>
                    <a:pt x="838" y="331"/>
                    <a:pt x="868" y="346"/>
                    <a:pt x="902" y="346"/>
                  </a:cubicBezTo>
                  <a:cubicBezTo>
                    <a:pt x="935" y="346"/>
                    <a:pt x="964" y="332"/>
                    <a:pt x="984" y="310"/>
                  </a:cubicBezTo>
                  <a:cubicBezTo>
                    <a:pt x="1141" y="444"/>
                    <a:pt x="1141" y="444"/>
                    <a:pt x="1141" y="444"/>
                  </a:cubicBezTo>
                  <a:cubicBezTo>
                    <a:pt x="1132" y="463"/>
                    <a:pt x="1127" y="485"/>
                    <a:pt x="1127" y="508"/>
                  </a:cubicBezTo>
                  <a:cubicBezTo>
                    <a:pt x="1127" y="520"/>
                    <a:pt x="1129" y="532"/>
                    <a:pt x="1132" y="544"/>
                  </a:cubicBezTo>
                  <a:cubicBezTo>
                    <a:pt x="1068" y="567"/>
                    <a:pt x="1068" y="567"/>
                    <a:pt x="1068" y="567"/>
                  </a:cubicBezTo>
                  <a:cubicBezTo>
                    <a:pt x="1060" y="553"/>
                    <a:pt x="1045" y="544"/>
                    <a:pt x="1028" y="544"/>
                  </a:cubicBezTo>
                  <a:cubicBezTo>
                    <a:pt x="1003" y="544"/>
                    <a:pt x="983" y="564"/>
                    <a:pt x="983" y="589"/>
                  </a:cubicBezTo>
                  <a:cubicBezTo>
                    <a:pt x="983" y="613"/>
                    <a:pt x="1003" y="634"/>
                    <a:pt x="1028" y="634"/>
                  </a:cubicBezTo>
                  <a:cubicBezTo>
                    <a:pt x="1053" y="634"/>
                    <a:pt x="1073" y="613"/>
                    <a:pt x="1073" y="589"/>
                  </a:cubicBezTo>
                  <a:cubicBezTo>
                    <a:pt x="1073" y="587"/>
                    <a:pt x="1073" y="585"/>
                    <a:pt x="1073" y="583"/>
                  </a:cubicBezTo>
                  <a:cubicBezTo>
                    <a:pt x="1136" y="559"/>
                    <a:pt x="1136" y="559"/>
                    <a:pt x="1136" y="559"/>
                  </a:cubicBezTo>
                  <a:cubicBezTo>
                    <a:pt x="1157" y="618"/>
                    <a:pt x="1213" y="660"/>
                    <a:pt x="1279" y="660"/>
                  </a:cubicBezTo>
                  <a:cubicBezTo>
                    <a:pt x="1300" y="660"/>
                    <a:pt x="1320" y="656"/>
                    <a:pt x="1339" y="648"/>
                  </a:cubicBezTo>
                  <a:cubicBezTo>
                    <a:pt x="1356" y="677"/>
                    <a:pt x="1356" y="677"/>
                    <a:pt x="1356" y="677"/>
                  </a:cubicBezTo>
                  <a:cubicBezTo>
                    <a:pt x="1347" y="685"/>
                    <a:pt x="1341" y="697"/>
                    <a:pt x="1341" y="711"/>
                  </a:cubicBezTo>
                  <a:cubicBezTo>
                    <a:pt x="1341" y="735"/>
                    <a:pt x="1361" y="756"/>
                    <a:pt x="1386" y="756"/>
                  </a:cubicBezTo>
                  <a:cubicBezTo>
                    <a:pt x="1411" y="756"/>
                    <a:pt x="1431" y="735"/>
                    <a:pt x="1431" y="711"/>
                  </a:cubicBezTo>
                  <a:cubicBezTo>
                    <a:pt x="1431" y="686"/>
                    <a:pt x="1411" y="666"/>
                    <a:pt x="1386" y="666"/>
                  </a:cubicBezTo>
                  <a:cubicBezTo>
                    <a:pt x="1380" y="666"/>
                    <a:pt x="1375" y="667"/>
                    <a:pt x="1370" y="669"/>
                  </a:cubicBezTo>
                  <a:cubicBezTo>
                    <a:pt x="1353" y="641"/>
                    <a:pt x="1353" y="641"/>
                    <a:pt x="1353" y="641"/>
                  </a:cubicBezTo>
                  <a:cubicBezTo>
                    <a:pt x="1387" y="622"/>
                    <a:pt x="1413" y="590"/>
                    <a:pt x="1425" y="552"/>
                  </a:cubicBezTo>
                  <a:cubicBezTo>
                    <a:pt x="1665" y="592"/>
                    <a:pt x="1665" y="592"/>
                    <a:pt x="1665" y="592"/>
                  </a:cubicBezTo>
                  <a:cubicBezTo>
                    <a:pt x="1662" y="611"/>
                    <a:pt x="1660" y="631"/>
                    <a:pt x="1660" y="651"/>
                  </a:cubicBezTo>
                  <a:cubicBezTo>
                    <a:pt x="1660" y="841"/>
                    <a:pt x="1814" y="996"/>
                    <a:pt x="2005" y="996"/>
                  </a:cubicBezTo>
                  <a:cubicBezTo>
                    <a:pt x="2196" y="996"/>
                    <a:pt x="2350" y="841"/>
                    <a:pt x="2350" y="651"/>
                  </a:cubicBezTo>
                  <a:cubicBezTo>
                    <a:pt x="2350" y="620"/>
                    <a:pt x="2346" y="591"/>
                    <a:pt x="2338" y="562"/>
                  </a:cubicBezTo>
                  <a:cubicBezTo>
                    <a:pt x="2562" y="420"/>
                    <a:pt x="2562" y="420"/>
                    <a:pt x="2562" y="420"/>
                  </a:cubicBezTo>
                  <a:cubicBezTo>
                    <a:pt x="2591" y="456"/>
                    <a:pt x="2635" y="480"/>
                    <a:pt x="2685" y="480"/>
                  </a:cubicBezTo>
                  <a:cubicBezTo>
                    <a:pt x="2700" y="480"/>
                    <a:pt x="2715" y="478"/>
                    <a:pt x="2728" y="474"/>
                  </a:cubicBezTo>
                  <a:cubicBezTo>
                    <a:pt x="2757" y="535"/>
                    <a:pt x="2757" y="535"/>
                    <a:pt x="2757" y="535"/>
                  </a:cubicBezTo>
                  <a:cubicBezTo>
                    <a:pt x="2728" y="548"/>
                    <a:pt x="2708" y="577"/>
                    <a:pt x="2708" y="611"/>
                  </a:cubicBezTo>
                  <a:cubicBezTo>
                    <a:pt x="2708" y="658"/>
                    <a:pt x="2746" y="695"/>
                    <a:pt x="2792" y="695"/>
                  </a:cubicBezTo>
                  <a:cubicBezTo>
                    <a:pt x="2839" y="695"/>
                    <a:pt x="2876" y="658"/>
                    <a:pt x="2876" y="611"/>
                  </a:cubicBezTo>
                  <a:cubicBezTo>
                    <a:pt x="2876" y="565"/>
                    <a:pt x="2839" y="527"/>
                    <a:pt x="2792" y="527"/>
                  </a:cubicBezTo>
                  <a:cubicBezTo>
                    <a:pt x="2786" y="527"/>
                    <a:pt x="2779" y="528"/>
                    <a:pt x="2773" y="530"/>
                  </a:cubicBezTo>
                  <a:cubicBezTo>
                    <a:pt x="2743" y="469"/>
                    <a:pt x="2743" y="469"/>
                    <a:pt x="2743" y="469"/>
                  </a:cubicBezTo>
                  <a:cubicBezTo>
                    <a:pt x="2783" y="453"/>
                    <a:pt x="2815" y="420"/>
                    <a:pt x="2831" y="380"/>
                  </a:cubicBezTo>
                  <a:cubicBezTo>
                    <a:pt x="2989" y="429"/>
                    <a:pt x="2989" y="429"/>
                    <a:pt x="2989" y="429"/>
                  </a:cubicBezTo>
                  <a:cubicBezTo>
                    <a:pt x="2986" y="442"/>
                    <a:pt x="2984" y="456"/>
                    <a:pt x="2984" y="471"/>
                  </a:cubicBezTo>
                  <a:cubicBezTo>
                    <a:pt x="2984" y="539"/>
                    <a:pt x="3026" y="597"/>
                    <a:pt x="3085" y="622"/>
                  </a:cubicBezTo>
                  <a:cubicBezTo>
                    <a:pt x="3029" y="789"/>
                    <a:pt x="3029" y="789"/>
                    <a:pt x="3029" y="789"/>
                  </a:cubicBezTo>
                  <a:cubicBezTo>
                    <a:pt x="3026" y="788"/>
                    <a:pt x="3023" y="788"/>
                    <a:pt x="3020" y="788"/>
                  </a:cubicBezTo>
                  <a:cubicBezTo>
                    <a:pt x="2995" y="788"/>
                    <a:pt x="2975" y="808"/>
                    <a:pt x="2975" y="833"/>
                  </a:cubicBezTo>
                  <a:cubicBezTo>
                    <a:pt x="2975" y="857"/>
                    <a:pt x="2995" y="878"/>
                    <a:pt x="3020" y="878"/>
                  </a:cubicBezTo>
                  <a:cubicBezTo>
                    <a:pt x="3045" y="878"/>
                    <a:pt x="3065" y="857"/>
                    <a:pt x="3065" y="833"/>
                  </a:cubicBezTo>
                  <a:cubicBezTo>
                    <a:pt x="3065" y="817"/>
                    <a:pt x="3057" y="803"/>
                    <a:pt x="3044" y="795"/>
                  </a:cubicBezTo>
                  <a:cubicBezTo>
                    <a:pt x="3100" y="627"/>
                    <a:pt x="3100" y="627"/>
                    <a:pt x="3100" y="627"/>
                  </a:cubicBezTo>
                  <a:cubicBezTo>
                    <a:pt x="3115" y="631"/>
                    <a:pt x="3131" y="634"/>
                    <a:pt x="3147" y="634"/>
                  </a:cubicBezTo>
                  <a:cubicBezTo>
                    <a:pt x="3198" y="634"/>
                    <a:pt x="3243" y="611"/>
                    <a:pt x="3273" y="575"/>
                  </a:cubicBezTo>
                  <a:cubicBezTo>
                    <a:pt x="3459" y="656"/>
                    <a:pt x="3459" y="656"/>
                    <a:pt x="3459" y="656"/>
                  </a:cubicBezTo>
                  <a:cubicBezTo>
                    <a:pt x="3457" y="662"/>
                    <a:pt x="3456" y="669"/>
                    <a:pt x="3456" y="675"/>
                  </a:cubicBezTo>
                  <a:cubicBezTo>
                    <a:pt x="3456" y="722"/>
                    <a:pt x="3494" y="759"/>
                    <a:pt x="3540" y="759"/>
                  </a:cubicBezTo>
                  <a:cubicBezTo>
                    <a:pt x="3587" y="759"/>
                    <a:pt x="3624" y="722"/>
                    <a:pt x="3624" y="675"/>
                  </a:cubicBezTo>
                  <a:cubicBezTo>
                    <a:pt x="3624" y="629"/>
                    <a:pt x="3587" y="591"/>
                    <a:pt x="3540" y="591"/>
                  </a:cubicBezTo>
                  <a:cubicBezTo>
                    <a:pt x="3506" y="591"/>
                    <a:pt x="3477" y="612"/>
                    <a:pt x="3464" y="641"/>
                  </a:cubicBezTo>
                  <a:cubicBezTo>
                    <a:pt x="3283" y="562"/>
                    <a:pt x="3283" y="562"/>
                    <a:pt x="3283" y="562"/>
                  </a:cubicBezTo>
                  <a:cubicBezTo>
                    <a:pt x="3300" y="536"/>
                    <a:pt x="3311" y="504"/>
                    <a:pt x="3311" y="471"/>
                  </a:cubicBezTo>
                  <a:cubicBezTo>
                    <a:pt x="3311" y="460"/>
                    <a:pt x="3310" y="450"/>
                    <a:pt x="3308" y="440"/>
                  </a:cubicBezTo>
                  <a:cubicBezTo>
                    <a:pt x="3401" y="429"/>
                    <a:pt x="3401" y="429"/>
                    <a:pt x="3401" y="429"/>
                  </a:cubicBezTo>
                  <a:cubicBezTo>
                    <a:pt x="3408" y="445"/>
                    <a:pt x="3424" y="456"/>
                    <a:pt x="3442" y="456"/>
                  </a:cubicBezTo>
                  <a:cubicBezTo>
                    <a:pt x="3467" y="456"/>
                    <a:pt x="3487" y="435"/>
                    <a:pt x="3487" y="411"/>
                  </a:cubicBezTo>
                  <a:cubicBezTo>
                    <a:pt x="3487" y="400"/>
                    <a:pt x="3483" y="390"/>
                    <a:pt x="3477" y="382"/>
                  </a:cubicBezTo>
                  <a:cubicBezTo>
                    <a:pt x="3551" y="280"/>
                    <a:pt x="3551" y="280"/>
                    <a:pt x="3551" y="280"/>
                  </a:cubicBezTo>
                  <a:cubicBezTo>
                    <a:pt x="3571" y="291"/>
                    <a:pt x="3594" y="298"/>
                    <a:pt x="3618" y="298"/>
                  </a:cubicBezTo>
                  <a:cubicBezTo>
                    <a:pt x="3662" y="298"/>
                    <a:pt x="3702" y="277"/>
                    <a:pt x="3726" y="244"/>
                  </a:cubicBezTo>
                  <a:cubicBezTo>
                    <a:pt x="3856" y="333"/>
                    <a:pt x="3856" y="333"/>
                    <a:pt x="3856" y="333"/>
                  </a:cubicBezTo>
                  <a:cubicBezTo>
                    <a:pt x="3850" y="344"/>
                    <a:pt x="3846" y="357"/>
                    <a:pt x="3846" y="371"/>
                  </a:cubicBezTo>
                  <a:cubicBezTo>
                    <a:pt x="3846" y="418"/>
                    <a:pt x="3884" y="455"/>
                    <a:pt x="3930" y="455"/>
                  </a:cubicBezTo>
                  <a:cubicBezTo>
                    <a:pt x="3977" y="455"/>
                    <a:pt x="4014" y="418"/>
                    <a:pt x="4014" y="371"/>
                  </a:cubicBezTo>
                  <a:cubicBezTo>
                    <a:pt x="4014" y="325"/>
                    <a:pt x="3977" y="287"/>
                    <a:pt x="3930" y="287"/>
                  </a:cubicBezTo>
                  <a:close/>
                  <a:moveTo>
                    <a:pt x="2796" y="42"/>
                  </a:moveTo>
                  <a:cubicBezTo>
                    <a:pt x="2808" y="42"/>
                    <a:pt x="2818" y="52"/>
                    <a:pt x="2818" y="65"/>
                  </a:cubicBezTo>
                  <a:cubicBezTo>
                    <a:pt x="2818" y="77"/>
                    <a:pt x="2808" y="87"/>
                    <a:pt x="2796" y="87"/>
                  </a:cubicBezTo>
                  <a:cubicBezTo>
                    <a:pt x="2784" y="87"/>
                    <a:pt x="2774" y="77"/>
                    <a:pt x="2774" y="65"/>
                  </a:cubicBezTo>
                  <a:cubicBezTo>
                    <a:pt x="2774" y="52"/>
                    <a:pt x="2784" y="42"/>
                    <a:pt x="2796" y="42"/>
                  </a:cubicBezTo>
                  <a:close/>
                  <a:moveTo>
                    <a:pt x="2536" y="134"/>
                  </a:moveTo>
                  <a:cubicBezTo>
                    <a:pt x="2536" y="125"/>
                    <a:pt x="2543" y="118"/>
                    <a:pt x="2552" y="118"/>
                  </a:cubicBezTo>
                  <a:cubicBezTo>
                    <a:pt x="2561" y="118"/>
                    <a:pt x="2569" y="125"/>
                    <a:pt x="2569" y="134"/>
                  </a:cubicBezTo>
                  <a:cubicBezTo>
                    <a:pt x="2569" y="143"/>
                    <a:pt x="2561" y="150"/>
                    <a:pt x="2552" y="150"/>
                  </a:cubicBezTo>
                  <a:cubicBezTo>
                    <a:pt x="2543" y="150"/>
                    <a:pt x="2536" y="143"/>
                    <a:pt x="2536" y="134"/>
                  </a:cubicBezTo>
                  <a:close/>
                  <a:moveTo>
                    <a:pt x="1378" y="202"/>
                  </a:moveTo>
                  <a:cubicBezTo>
                    <a:pt x="1390" y="202"/>
                    <a:pt x="1400" y="212"/>
                    <a:pt x="1400" y="225"/>
                  </a:cubicBezTo>
                  <a:cubicBezTo>
                    <a:pt x="1400" y="237"/>
                    <a:pt x="1390" y="247"/>
                    <a:pt x="1378" y="247"/>
                  </a:cubicBezTo>
                  <a:cubicBezTo>
                    <a:pt x="1366" y="247"/>
                    <a:pt x="1356" y="237"/>
                    <a:pt x="1356" y="225"/>
                  </a:cubicBezTo>
                  <a:cubicBezTo>
                    <a:pt x="1356" y="212"/>
                    <a:pt x="1366" y="202"/>
                    <a:pt x="1378" y="202"/>
                  </a:cubicBezTo>
                  <a:close/>
                  <a:moveTo>
                    <a:pt x="744" y="45"/>
                  </a:moveTo>
                  <a:cubicBezTo>
                    <a:pt x="744" y="32"/>
                    <a:pt x="754" y="22"/>
                    <a:pt x="766" y="22"/>
                  </a:cubicBezTo>
                  <a:cubicBezTo>
                    <a:pt x="778" y="22"/>
                    <a:pt x="788" y="32"/>
                    <a:pt x="788" y="45"/>
                  </a:cubicBezTo>
                  <a:cubicBezTo>
                    <a:pt x="788" y="57"/>
                    <a:pt x="778" y="67"/>
                    <a:pt x="766" y="67"/>
                  </a:cubicBezTo>
                  <a:cubicBezTo>
                    <a:pt x="754" y="67"/>
                    <a:pt x="744" y="57"/>
                    <a:pt x="744" y="45"/>
                  </a:cubicBezTo>
                  <a:close/>
                  <a:moveTo>
                    <a:pt x="84" y="166"/>
                  </a:moveTo>
                  <a:cubicBezTo>
                    <a:pt x="61" y="166"/>
                    <a:pt x="42" y="147"/>
                    <a:pt x="42" y="123"/>
                  </a:cubicBezTo>
                  <a:cubicBezTo>
                    <a:pt x="42" y="100"/>
                    <a:pt x="61" y="81"/>
                    <a:pt x="84" y="81"/>
                  </a:cubicBezTo>
                  <a:cubicBezTo>
                    <a:pt x="108" y="81"/>
                    <a:pt x="127" y="100"/>
                    <a:pt x="127" y="123"/>
                  </a:cubicBezTo>
                  <a:cubicBezTo>
                    <a:pt x="127" y="147"/>
                    <a:pt x="108" y="166"/>
                    <a:pt x="84" y="166"/>
                  </a:cubicBezTo>
                  <a:close/>
                  <a:moveTo>
                    <a:pt x="214" y="593"/>
                  </a:moveTo>
                  <a:cubicBezTo>
                    <a:pt x="199" y="593"/>
                    <a:pt x="188" y="581"/>
                    <a:pt x="188" y="567"/>
                  </a:cubicBezTo>
                  <a:cubicBezTo>
                    <a:pt x="188" y="552"/>
                    <a:pt x="199" y="540"/>
                    <a:pt x="214" y="540"/>
                  </a:cubicBezTo>
                  <a:cubicBezTo>
                    <a:pt x="229" y="540"/>
                    <a:pt x="240" y="552"/>
                    <a:pt x="240" y="567"/>
                  </a:cubicBezTo>
                  <a:cubicBezTo>
                    <a:pt x="240" y="581"/>
                    <a:pt x="229" y="593"/>
                    <a:pt x="214" y="593"/>
                  </a:cubicBezTo>
                  <a:close/>
                  <a:moveTo>
                    <a:pt x="388" y="385"/>
                  </a:moveTo>
                  <a:cubicBezTo>
                    <a:pt x="330" y="385"/>
                    <a:pt x="282" y="339"/>
                    <a:pt x="282" y="282"/>
                  </a:cubicBezTo>
                  <a:cubicBezTo>
                    <a:pt x="282" y="225"/>
                    <a:pt x="330" y="179"/>
                    <a:pt x="388" y="179"/>
                  </a:cubicBezTo>
                  <a:cubicBezTo>
                    <a:pt x="447" y="179"/>
                    <a:pt x="494" y="225"/>
                    <a:pt x="494" y="282"/>
                  </a:cubicBezTo>
                  <a:cubicBezTo>
                    <a:pt x="494" y="339"/>
                    <a:pt x="447" y="385"/>
                    <a:pt x="388" y="385"/>
                  </a:cubicBezTo>
                  <a:close/>
                  <a:moveTo>
                    <a:pt x="706" y="423"/>
                  </a:moveTo>
                  <a:cubicBezTo>
                    <a:pt x="691" y="423"/>
                    <a:pt x="680" y="411"/>
                    <a:pt x="680" y="397"/>
                  </a:cubicBezTo>
                  <a:cubicBezTo>
                    <a:pt x="680" y="382"/>
                    <a:pt x="691" y="370"/>
                    <a:pt x="706" y="370"/>
                  </a:cubicBezTo>
                  <a:cubicBezTo>
                    <a:pt x="721" y="370"/>
                    <a:pt x="732" y="382"/>
                    <a:pt x="732" y="397"/>
                  </a:cubicBezTo>
                  <a:cubicBezTo>
                    <a:pt x="732" y="411"/>
                    <a:pt x="721" y="423"/>
                    <a:pt x="706" y="423"/>
                  </a:cubicBezTo>
                  <a:close/>
                  <a:moveTo>
                    <a:pt x="902" y="298"/>
                  </a:moveTo>
                  <a:cubicBezTo>
                    <a:pt x="866" y="298"/>
                    <a:pt x="837" y="269"/>
                    <a:pt x="837" y="233"/>
                  </a:cubicBezTo>
                  <a:cubicBezTo>
                    <a:pt x="837" y="197"/>
                    <a:pt x="866" y="168"/>
                    <a:pt x="902" y="168"/>
                  </a:cubicBezTo>
                  <a:cubicBezTo>
                    <a:pt x="938" y="168"/>
                    <a:pt x="967" y="197"/>
                    <a:pt x="967" y="233"/>
                  </a:cubicBezTo>
                  <a:cubicBezTo>
                    <a:pt x="967" y="269"/>
                    <a:pt x="938" y="298"/>
                    <a:pt x="902" y="298"/>
                  </a:cubicBezTo>
                  <a:close/>
                  <a:moveTo>
                    <a:pt x="1028" y="611"/>
                  </a:moveTo>
                  <a:cubicBezTo>
                    <a:pt x="1016" y="611"/>
                    <a:pt x="1006" y="601"/>
                    <a:pt x="1006" y="589"/>
                  </a:cubicBezTo>
                  <a:cubicBezTo>
                    <a:pt x="1006" y="576"/>
                    <a:pt x="1016" y="566"/>
                    <a:pt x="1028" y="566"/>
                  </a:cubicBezTo>
                  <a:cubicBezTo>
                    <a:pt x="1040" y="566"/>
                    <a:pt x="1050" y="576"/>
                    <a:pt x="1050" y="589"/>
                  </a:cubicBezTo>
                  <a:cubicBezTo>
                    <a:pt x="1050" y="601"/>
                    <a:pt x="1040" y="611"/>
                    <a:pt x="1028" y="611"/>
                  </a:cubicBezTo>
                  <a:close/>
                  <a:moveTo>
                    <a:pt x="1408" y="711"/>
                  </a:moveTo>
                  <a:cubicBezTo>
                    <a:pt x="1408" y="723"/>
                    <a:pt x="1398" y="733"/>
                    <a:pt x="1386" y="733"/>
                  </a:cubicBezTo>
                  <a:cubicBezTo>
                    <a:pt x="1374" y="733"/>
                    <a:pt x="1364" y="723"/>
                    <a:pt x="1364" y="711"/>
                  </a:cubicBezTo>
                  <a:cubicBezTo>
                    <a:pt x="1364" y="698"/>
                    <a:pt x="1374" y="688"/>
                    <a:pt x="1386" y="688"/>
                  </a:cubicBezTo>
                  <a:cubicBezTo>
                    <a:pt x="1398" y="688"/>
                    <a:pt x="1408" y="698"/>
                    <a:pt x="1408" y="711"/>
                  </a:cubicBezTo>
                  <a:close/>
                  <a:moveTo>
                    <a:pt x="1279" y="595"/>
                  </a:moveTo>
                  <a:cubicBezTo>
                    <a:pt x="1230" y="595"/>
                    <a:pt x="1190" y="555"/>
                    <a:pt x="1190" y="506"/>
                  </a:cubicBezTo>
                  <a:cubicBezTo>
                    <a:pt x="1190" y="456"/>
                    <a:pt x="1230" y="416"/>
                    <a:pt x="1279" y="416"/>
                  </a:cubicBezTo>
                  <a:cubicBezTo>
                    <a:pt x="1328" y="416"/>
                    <a:pt x="1368" y="456"/>
                    <a:pt x="1368" y="506"/>
                  </a:cubicBezTo>
                  <a:cubicBezTo>
                    <a:pt x="1368" y="555"/>
                    <a:pt x="1328" y="595"/>
                    <a:pt x="1279" y="595"/>
                  </a:cubicBezTo>
                  <a:close/>
                  <a:moveTo>
                    <a:pt x="2005" y="866"/>
                  </a:moveTo>
                  <a:cubicBezTo>
                    <a:pt x="1885" y="866"/>
                    <a:pt x="1788" y="769"/>
                    <a:pt x="1788" y="649"/>
                  </a:cubicBezTo>
                  <a:cubicBezTo>
                    <a:pt x="1788" y="529"/>
                    <a:pt x="1885" y="432"/>
                    <a:pt x="2005" y="432"/>
                  </a:cubicBezTo>
                  <a:cubicBezTo>
                    <a:pt x="2125" y="432"/>
                    <a:pt x="2222" y="529"/>
                    <a:pt x="2222" y="649"/>
                  </a:cubicBezTo>
                  <a:cubicBezTo>
                    <a:pt x="2222" y="769"/>
                    <a:pt x="2125" y="866"/>
                    <a:pt x="2005" y="866"/>
                  </a:cubicBezTo>
                  <a:close/>
                  <a:moveTo>
                    <a:pt x="2835" y="611"/>
                  </a:moveTo>
                  <a:cubicBezTo>
                    <a:pt x="2835" y="635"/>
                    <a:pt x="2816" y="654"/>
                    <a:pt x="2792" y="654"/>
                  </a:cubicBezTo>
                  <a:cubicBezTo>
                    <a:pt x="2769" y="654"/>
                    <a:pt x="2750" y="635"/>
                    <a:pt x="2750" y="611"/>
                  </a:cubicBezTo>
                  <a:cubicBezTo>
                    <a:pt x="2750" y="588"/>
                    <a:pt x="2769" y="569"/>
                    <a:pt x="2792" y="569"/>
                  </a:cubicBezTo>
                  <a:cubicBezTo>
                    <a:pt x="2816" y="569"/>
                    <a:pt x="2835" y="588"/>
                    <a:pt x="2835" y="611"/>
                  </a:cubicBezTo>
                  <a:close/>
                  <a:moveTo>
                    <a:pt x="2685" y="413"/>
                  </a:moveTo>
                  <a:cubicBezTo>
                    <a:pt x="2635" y="413"/>
                    <a:pt x="2594" y="372"/>
                    <a:pt x="2594" y="321"/>
                  </a:cubicBezTo>
                  <a:cubicBezTo>
                    <a:pt x="2594" y="271"/>
                    <a:pt x="2635" y="230"/>
                    <a:pt x="2685" y="230"/>
                  </a:cubicBezTo>
                  <a:cubicBezTo>
                    <a:pt x="2736" y="230"/>
                    <a:pt x="2777" y="271"/>
                    <a:pt x="2777" y="321"/>
                  </a:cubicBezTo>
                  <a:cubicBezTo>
                    <a:pt x="2777" y="372"/>
                    <a:pt x="2736" y="413"/>
                    <a:pt x="2685" y="413"/>
                  </a:cubicBezTo>
                  <a:close/>
                  <a:moveTo>
                    <a:pt x="3020" y="855"/>
                  </a:moveTo>
                  <a:cubicBezTo>
                    <a:pt x="3008" y="855"/>
                    <a:pt x="2998" y="845"/>
                    <a:pt x="2998" y="833"/>
                  </a:cubicBezTo>
                  <a:cubicBezTo>
                    <a:pt x="2998" y="820"/>
                    <a:pt x="3008" y="810"/>
                    <a:pt x="3020" y="810"/>
                  </a:cubicBezTo>
                  <a:cubicBezTo>
                    <a:pt x="3032" y="810"/>
                    <a:pt x="3042" y="820"/>
                    <a:pt x="3042" y="833"/>
                  </a:cubicBezTo>
                  <a:cubicBezTo>
                    <a:pt x="3042" y="845"/>
                    <a:pt x="3032" y="855"/>
                    <a:pt x="3020" y="855"/>
                  </a:cubicBezTo>
                  <a:close/>
                  <a:moveTo>
                    <a:pt x="3147" y="564"/>
                  </a:moveTo>
                  <a:cubicBezTo>
                    <a:pt x="3094" y="564"/>
                    <a:pt x="3051" y="521"/>
                    <a:pt x="3051" y="468"/>
                  </a:cubicBezTo>
                  <a:cubicBezTo>
                    <a:pt x="3051" y="415"/>
                    <a:pt x="3094" y="372"/>
                    <a:pt x="3147" y="372"/>
                  </a:cubicBezTo>
                  <a:cubicBezTo>
                    <a:pt x="3200" y="372"/>
                    <a:pt x="3243" y="415"/>
                    <a:pt x="3243" y="468"/>
                  </a:cubicBezTo>
                  <a:cubicBezTo>
                    <a:pt x="3243" y="521"/>
                    <a:pt x="3200" y="564"/>
                    <a:pt x="3147" y="564"/>
                  </a:cubicBezTo>
                  <a:close/>
                  <a:moveTo>
                    <a:pt x="3540" y="633"/>
                  </a:moveTo>
                  <a:cubicBezTo>
                    <a:pt x="3564" y="633"/>
                    <a:pt x="3583" y="652"/>
                    <a:pt x="3583" y="675"/>
                  </a:cubicBezTo>
                  <a:cubicBezTo>
                    <a:pt x="3583" y="699"/>
                    <a:pt x="3564" y="718"/>
                    <a:pt x="3540" y="718"/>
                  </a:cubicBezTo>
                  <a:cubicBezTo>
                    <a:pt x="3517" y="718"/>
                    <a:pt x="3498" y="699"/>
                    <a:pt x="3498" y="675"/>
                  </a:cubicBezTo>
                  <a:cubicBezTo>
                    <a:pt x="3498" y="652"/>
                    <a:pt x="3517" y="633"/>
                    <a:pt x="3540" y="633"/>
                  </a:cubicBezTo>
                  <a:close/>
                  <a:moveTo>
                    <a:pt x="3442" y="433"/>
                  </a:moveTo>
                  <a:cubicBezTo>
                    <a:pt x="3430" y="433"/>
                    <a:pt x="3420" y="423"/>
                    <a:pt x="3420" y="411"/>
                  </a:cubicBezTo>
                  <a:cubicBezTo>
                    <a:pt x="3420" y="398"/>
                    <a:pt x="3430" y="388"/>
                    <a:pt x="3442" y="388"/>
                  </a:cubicBezTo>
                  <a:cubicBezTo>
                    <a:pt x="3454" y="388"/>
                    <a:pt x="3464" y="398"/>
                    <a:pt x="3464" y="411"/>
                  </a:cubicBezTo>
                  <a:cubicBezTo>
                    <a:pt x="3464" y="423"/>
                    <a:pt x="3454" y="433"/>
                    <a:pt x="3442" y="433"/>
                  </a:cubicBezTo>
                  <a:close/>
                  <a:moveTo>
                    <a:pt x="3618" y="240"/>
                  </a:moveTo>
                  <a:cubicBezTo>
                    <a:pt x="3575" y="240"/>
                    <a:pt x="3539" y="205"/>
                    <a:pt x="3539" y="161"/>
                  </a:cubicBezTo>
                  <a:cubicBezTo>
                    <a:pt x="3539" y="117"/>
                    <a:pt x="3575" y="82"/>
                    <a:pt x="3618" y="82"/>
                  </a:cubicBezTo>
                  <a:cubicBezTo>
                    <a:pt x="3662" y="82"/>
                    <a:pt x="3697" y="117"/>
                    <a:pt x="3697" y="161"/>
                  </a:cubicBezTo>
                  <a:cubicBezTo>
                    <a:pt x="3697" y="205"/>
                    <a:pt x="3662" y="240"/>
                    <a:pt x="3618" y="240"/>
                  </a:cubicBezTo>
                  <a:close/>
                  <a:moveTo>
                    <a:pt x="3930" y="414"/>
                  </a:moveTo>
                  <a:cubicBezTo>
                    <a:pt x="3907" y="414"/>
                    <a:pt x="3888" y="395"/>
                    <a:pt x="3888" y="371"/>
                  </a:cubicBezTo>
                  <a:cubicBezTo>
                    <a:pt x="3888" y="348"/>
                    <a:pt x="3907" y="329"/>
                    <a:pt x="3930" y="329"/>
                  </a:cubicBezTo>
                  <a:cubicBezTo>
                    <a:pt x="3954" y="329"/>
                    <a:pt x="3973" y="348"/>
                    <a:pt x="3973" y="371"/>
                  </a:cubicBezTo>
                  <a:cubicBezTo>
                    <a:pt x="3973" y="395"/>
                    <a:pt x="3954" y="414"/>
                    <a:pt x="3930" y="4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accent1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anchor="t" anchorCtr="0"/>
          <a:lstStyle>
            <a:lvl1pPr marL="0" marR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 sz="3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SUBTITL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56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0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9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53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9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74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 sz="320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9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9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42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 sz="320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>
              <a:defRPr sz="19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>
              <a:defRPr sz="16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1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sz="3200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16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86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66" tIns="43982" rIns="87966" bIns="43982" numCol="1" anchor="t" anchorCtr="0" compatLnSpc="1">
            <a:prstTxWarp prst="textNoShape">
              <a:avLst/>
            </a:prstTxWarp>
          </a:bodyPr>
          <a:lstStyle/>
          <a:p>
            <a:pPr defTabSz="875647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66" tIns="43982" rIns="87966" bIns="43982" numCol="1" anchor="t" anchorCtr="0" compatLnSpc="1">
            <a:prstTxWarp prst="textNoShape">
              <a:avLst/>
            </a:prstTxWarp>
          </a:bodyPr>
          <a:lstStyle/>
          <a:p>
            <a:pPr defTabSz="875647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74" tIns="43986" rIns="87974" bIns="43986" rtlCol="0">
            <a:spAutoFit/>
          </a:bodyPr>
          <a:lstStyle/>
          <a:p>
            <a:pPr defTabSz="875647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6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7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79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7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55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36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17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0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482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266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2FC7AC-006F-479F-866F-B568642AFF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6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57" tIns="137957" rIns="137957" bIns="137957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7" y="6084000"/>
            <a:ext cx="1440001" cy="360000"/>
          </a:xfrm>
          <a:prstGeom prst="rect">
            <a:avLst/>
          </a:prstGeom>
        </p:spPr>
        <p:txBody>
          <a:bodyPr lIns="87974" tIns="43986" rIns="87974" bIns="43986"/>
          <a:lstStyle/>
          <a:p>
            <a:pPr defTabSz="875647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647"/>
              <a:t>8/21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8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74" tIns="43986" rIns="87974" bIns="43986" numCol="1" anchor="t" anchorCtr="0" compatLnSpc="1">
            <a:prstTxWarp prst="textNoShape">
              <a:avLst/>
            </a:prstTxWarp>
          </a:bodyPr>
          <a:lstStyle/>
          <a:p>
            <a:pPr defTabSz="875735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74" tIns="43986" rIns="87974" bIns="43986" numCol="1" anchor="t" anchorCtr="0" compatLnSpc="1">
            <a:prstTxWarp prst="textNoShape">
              <a:avLst/>
            </a:prstTxWarp>
          </a:bodyPr>
          <a:lstStyle/>
          <a:p>
            <a:pPr defTabSz="875735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82" tIns="43990" rIns="87982" bIns="43990" rtlCol="0">
            <a:spAutoFit/>
          </a:bodyPr>
          <a:lstStyle/>
          <a:p>
            <a:pPr defTabSz="8757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5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802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68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5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3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2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51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30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EA579E-6E79-4AD3-B464-ABCC1A32CC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22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70" tIns="137970" rIns="137970" bIns="13797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5" y="6084000"/>
            <a:ext cx="1440001" cy="360000"/>
          </a:xfrm>
          <a:prstGeom prst="rect">
            <a:avLst/>
          </a:prstGeom>
        </p:spPr>
        <p:txBody>
          <a:bodyPr lIns="87982" tIns="43990" rIns="87982" bIns="43990"/>
          <a:lstStyle/>
          <a:p>
            <a:pPr defTabSz="875735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735"/>
              <a:t>8/21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15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342798" indent="-342798">
              <a:buFont typeface="Arial" panose="020B0604020202020204" pitchFamily="34" charset="0"/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/>
              <a:t>Enter your footer text her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4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90" tIns="43994" rIns="87990" bIns="43994" numCol="1" anchor="t" anchorCtr="0" compatLnSpc="1">
            <a:prstTxWarp prst="textNoShape">
              <a:avLst/>
            </a:prstTxWarp>
          </a:bodyPr>
          <a:lstStyle/>
          <a:p>
            <a:pPr defTabSz="875911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90" tIns="43994" rIns="87990" bIns="43994" numCol="1" anchor="t" anchorCtr="0" compatLnSpc="1">
            <a:prstTxWarp prst="textNoShape">
              <a:avLst/>
            </a:prstTxWarp>
          </a:bodyPr>
          <a:lstStyle/>
          <a:p>
            <a:pPr defTabSz="875911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98" tIns="43998" rIns="87998" bIns="43998" rtlCol="0">
            <a:spAutoFit/>
          </a:bodyPr>
          <a:lstStyle/>
          <a:p>
            <a:pPr defTabSz="87591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1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3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81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9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95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83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80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57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37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80B4C00-9EDC-45B6-9827-1B2E020A59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06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97" tIns="137997" rIns="137997" bIns="137997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3" y="6084000"/>
            <a:ext cx="1440001" cy="360000"/>
          </a:xfrm>
          <a:prstGeom prst="rect">
            <a:avLst/>
          </a:prstGeom>
        </p:spPr>
        <p:txBody>
          <a:bodyPr lIns="87998" tIns="43998" rIns="87998" bIns="43998"/>
          <a:lstStyle/>
          <a:p>
            <a:pPr defTabSz="875911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911"/>
              <a:t>8/21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94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57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81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10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10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78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2190413" cy="6858000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954111" y="6076361"/>
            <a:ext cx="427585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16253" y="6076361"/>
            <a:ext cx="914308" cy="36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16256" y="1483952"/>
            <a:ext cx="11133349" cy="4319248"/>
          </a:xfrm>
          <a:noFill/>
        </p:spPr>
        <p:txBody>
          <a:bodyPr/>
          <a:lstStyle>
            <a:lvl1pPr>
              <a:defRPr sz="230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1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rgbClr val="8D97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22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1" r:id="rId2"/>
    <p:sldLayoutId id="2147483709" r:id="rId3"/>
    <p:sldLayoutId id="2147483710" r:id="rId4"/>
    <p:sldLayoutId id="2147483681" r:id="rId5"/>
    <p:sldLayoutId id="2147483679" r:id="rId6"/>
    <p:sldLayoutId id="2147483680" r:id="rId7"/>
    <p:sldLayoutId id="2147483730" r:id="rId8"/>
    <p:sldLayoutId id="214748368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12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28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5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accent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5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823"/>
              <a:t>8/21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823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742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5823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643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590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387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155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3962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8346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6226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4094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1950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027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5823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3687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1539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89396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7280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5135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3014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4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911"/>
              <a:t>8/21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911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494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5911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669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658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491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293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4134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8586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6510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4422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2322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07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591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3819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1715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89614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7543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544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3364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1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6087"/>
              <a:t>8/21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6087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6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608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21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794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699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569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4478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9066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078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5078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3066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159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6087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4083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2067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90052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8068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6055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4064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nectivity.microsoft.com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xchange/configure-oauth-authentication-between-exchange-and-exchange-online-organizations-exchange-2013-help?WT.mc_id=M365-MVP-5003086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3" Type="http://schemas.openxmlformats.org/officeDocument/2006/relationships/image" Target="../media/image24.svg"/><Relationship Id="rId7" Type="http://schemas.openxmlformats.org/officeDocument/2006/relationships/image" Target="../media/image28.emf"/><Relationship Id="rId12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7.emf"/><Relationship Id="rId11" Type="http://schemas.openxmlformats.org/officeDocument/2006/relationships/image" Target="../media/image32.svg"/><Relationship Id="rId5" Type="http://schemas.openxmlformats.org/officeDocument/2006/relationships/image" Target="../media/image26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hyperlink" Target="https://twitter.com/stensitzki" TargetMode="External"/><Relationship Id="rId7" Type="http://schemas.openxmlformats.org/officeDocument/2006/relationships/hyperlink" Target="mailto:thomas.stensitzki@granikos.eu" TargetMode="External"/><Relationship Id="rId12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JustCantGetEnough.Granikos.eu" TargetMode="External"/><Relationship Id="rId11" Type="http://schemas.openxmlformats.org/officeDocument/2006/relationships/hyperlink" Target="https://m365businessbuch.de/" TargetMode="External"/><Relationship Id="rId5" Type="http://schemas.openxmlformats.org/officeDocument/2006/relationships/hyperlink" Target="http://blog.granikos.eu/" TargetMode="External"/><Relationship Id="rId10" Type="http://schemas.openxmlformats.org/officeDocument/2006/relationships/image" Target="../media/image4.png"/><Relationship Id="rId4" Type="http://schemas.openxmlformats.org/officeDocument/2006/relationships/hyperlink" Target="https://linkedin.com/in/thomasstensitzki" TargetMode="External"/><Relationship Id="rId9" Type="http://schemas.openxmlformats.org/officeDocument/2006/relationships/hyperlink" Target="https://go.granikos.eu/Exchange2019Buch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load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hyperlink" Target="https://twitter.com/stensitzki" TargetMode="External"/><Relationship Id="rId7" Type="http://schemas.openxmlformats.org/officeDocument/2006/relationships/hyperlink" Target="mailto:thomas.stensitzki@granikos.eu" TargetMode="External"/><Relationship Id="rId12" Type="http://schemas.openxmlformats.org/officeDocument/2006/relationships/image" Target="../media/image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justcantgetenough.granikos.eu/" TargetMode="External"/><Relationship Id="rId11" Type="http://schemas.openxmlformats.org/officeDocument/2006/relationships/hyperlink" Target="https://m365businessbuch.de/" TargetMode="External"/><Relationship Id="rId5" Type="http://schemas.openxmlformats.org/officeDocument/2006/relationships/hyperlink" Target="http://blog.granikos.eu/" TargetMode="External"/><Relationship Id="rId10" Type="http://schemas.openxmlformats.org/officeDocument/2006/relationships/image" Target="../media/image4.png"/><Relationship Id="rId4" Type="http://schemas.openxmlformats.org/officeDocument/2006/relationships/hyperlink" Target="https://linkedin.com/in/thomasstensitzki" TargetMode="External"/><Relationship Id="rId9" Type="http://schemas.openxmlformats.org/officeDocument/2006/relationships/hyperlink" Target="https://go.granikos.eu/Exchange2019Buch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load.com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microsoftteams/exchange-teams-interact?WT.mc_id=M365-MVP-5003086" TargetMode="External"/><Relationship Id="rId2" Type="http://schemas.openxmlformats.org/officeDocument/2006/relationships/hyperlink" Target="https://docs.microsoft.com/exchange/hybrid-deployment/deploy-hybrid?WT.mc_id=M365-MVP-500308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docs.microsoft.com/en-us/exchange/troubleshoot/user-and-shared-mailboxes/mailbox-exists-exo-onpremises?WT.mc_id=M365-MVP-500308" TargetMode="External"/><Relationship Id="rId5" Type="http://schemas.openxmlformats.org/officeDocument/2006/relationships/hyperlink" Target="https://github.com/David-Barrett-MS/SOAPe" TargetMode="External"/><Relationship Id="rId4" Type="http://schemas.openxmlformats.org/officeDocument/2006/relationships/hyperlink" Target="https://docs.microsoft.com/microsoftteams/log-files?WT.mc_id=TM-MVP-5003086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emf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image" Target="../media/image9.emf"/><Relationship Id="rId9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25B53BE-9AAC-4B2F-BADE-6ED56A9D6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46"/>
            <a:ext cx="12190413" cy="68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ser account synchronization with Azure AD Connect and enabled </a:t>
            </a:r>
            <a:r>
              <a:rPr lang="en-US" i="1" dirty="0"/>
              <a:t>Exchange Hybrid </a:t>
            </a:r>
            <a:r>
              <a:rPr lang="en-US" dirty="0"/>
              <a:t>option 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ssigned Microsoft Teams licens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Exchange Server 2016 CU3 or newer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Published on-premises AutoDiscover and Exchange Web Services endpoint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OAuth configuration for Exchange Online and Exchange Server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se Hybrid Configuration Wizard for configuration (recommended)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Manual configuration possib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21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2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Auth Configur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OAuth requires the registration of Exchange Online as trusted partner application in your on-premises Exchange organiz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Federation-based trust between the on-premises Exchange organization and Exchange Onlin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Exchange Server Authentication certificate plays an important role in the authentication process</a:t>
            </a:r>
          </a:p>
          <a:p>
            <a:pPr marL="800100" lvl="1" indent="-342900">
              <a:buClr>
                <a:schemeClr val="tx2"/>
              </a:buClr>
              <a:buFont typeface="Wingdings" panose="05000000000000000000" pitchFamily="2" charset="2"/>
              <a:buChar char="à"/>
            </a:pPr>
            <a:r>
              <a:rPr lang="en-US" b="1" dirty="0">
                <a:sym typeface="Wingdings" panose="05000000000000000000" pitchFamily="2" charset="2"/>
              </a:rPr>
              <a:t>Never</a:t>
            </a:r>
            <a:r>
              <a:rPr lang="en-US" dirty="0">
                <a:sym typeface="Wingdings" panose="05000000000000000000" pitchFamily="2" charset="2"/>
              </a:rPr>
              <a:t> delete the on-premises Auth-certificate in use</a:t>
            </a:r>
          </a:p>
          <a:p>
            <a:pPr marL="800100" lvl="1" indent="-342900">
              <a:buClr>
                <a:schemeClr val="tx2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Check the configured authentication certificate with </a:t>
            </a:r>
            <a:r>
              <a:rPr lang="en-US" i="1" dirty="0">
                <a:sym typeface="Wingdings" panose="05000000000000000000" pitchFamily="2" charset="2"/>
              </a:rPr>
              <a:t>Get-</a:t>
            </a:r>
            <a:r>
              <a:rPr lang="en-US" i="1" dirty="0" err="1">
                <a:sym typeface="Wingdings" panose="05000000000000000000" pitchFamily="2" charset="2"/>
              </a:rPr>
              <a:t>AuthConfig</a:t>
            </a:r>
            <a:endParaRPr lang="en-US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8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Auth Configur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 err="1"/>
              <a:t>IntraOrganizationConnector</a:t>
            </a:r>
            <a:r>
              <a:rPr lang="en-US" dirty="0"/>
              <a:t> defines the Discovery endpoint for SMTP domain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Exchange Online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On-premises Exchange organization</a:t>
            </a:r>
            <a:br>
              <a:rPr lang="en-US" dirty="0"/>
            </a:br>
            <a:r>
              <a:rPr lang="en-US" dirty="0"/>
              <a:t>all primary on-premises SMTP domain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On-premises Exchange organization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Exchange Online</a:t>
            </a:r>
            <a:br>
              <a:rPr lang="en-US" dirty="0"/>
            </a:br>
            <a:r>
              <a:rPr lang="en-US" dirty="0"/>
              <a:t>Service domain TENANT.mail.onmicrosoft.com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Federation trust for service endpoint </a:t>
            </a:r>
            <a:r>
              <a:rPr lang="en-US" i="1" dirty="0"/>
              <a:t>Office 365 Exchange Onlin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re are 289 service endpoints (service principals) in Microsoft 365, 40 or Microsoft Teams alone</a:t>
            </a:r>
            <a:br>
              <a:rPr lang="en-US" dirty="0"/>
            </a:br>
            <a:endParaRPr lang="en-US" dirty="0"/>
          </a:p>
          <a:p>
            <a:pPr marL="534831" lvl="1" indent="0">
              <a:buClr>
                <a:schemeClr val="tx2"/>
              </a:buClr>
              <a:buNone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onnect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lServic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Get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lServicePrincipa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| Sort-Object DisplayName | ft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DisplayName,Addres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04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2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B907B3B-D8AB-4C22-949D-29A3332E1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solServicePrincipals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1BCE9F-58C8-42F8-936E-D6FC68B57A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2B05FA-8E10-49C0-9353-E204150EE0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F4E8D13-F6A0-4DB8-A14E-9C4B8FFF8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55" y="928768"/>
            <a:ext cx="8365986" cy="54544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6F941A-C759-4141-B5D1-6DE647E4DD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9629" y="670524"/>
            <a:ext cx="7945315" cy="17326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AA7BC5D-4754-4B0D-AFAE-D4F0E9BDA9EB}"/>
              </a:ext>
            </a:extLst>
          </p:cNvPr>
          <p:cNvSpPr txBox="1"/>
          <p:nvPr/>
        </p:nvSpPr>
        <p:spPr>
          <a:xfrm>
            <a:off x="96716" y="6396335"/>
            <a:ext cx="96246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-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olServicePrincipal</a:t>
            </a:r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| ?{$_.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playName</a:t>
            </a:r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like '*Exchange*'} | 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rt-Object</a:t>
            </a:r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playName</a:t>
            </a:r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t</a:t>
            </a:r>
            <a:r>
              <a:rPr lang="de-DE" sz="12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playName,Addresses</a:t>
            </a:r>
            <a:endParaRPr lang="de-DE" sz="1200" b="1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CE9EE7E-78DE-47F6-97CB-0A245402D2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969" y="2440558"/>
            <a:ext cx="7945315" cy="40523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843B7784-AF4C-4FEC-95AA-583A87450460}"/>
              </a:ext>
            </a:extLst>
          </p:cNvPr>
          <p:cNvSpPr/>
          <p:nvPr/>
        </p:nvSpPr>
        <p:spPr>
          <a:xfrm>
            <a:off x="4050133" y="2095097"/>
            <a:ext cx="2015577" cy="235148"/>
          </a:xfrm>
          <a:prstGeom prst="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3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Auth Configur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Microsoft Online PowerShell </a:t>
            </a:r>
            <a:r>
              <a:rPr lang="en-US" sz="2400" dirty="0">
                <a:sym typeface="Wingdings" panose="05000000000000000000" pitchFamily="2" charset="2"/>
              </a:rPr>
              <a:t> Use module </a:t>
            </a:r>
            <a:r>
              <a:rPr lang="en-US" sz="2400" b="1" dirty="0" err="1"/>
              <a:t>MSOnline</a:t>
            </a:r>
            <a:endParaRPr lang="en-US" sz="2400" b="1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The online documentation references the Azure AD PowerShell modul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Verify MsolServicePrincipal registr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Hybrid Configuration Wizard (HCW) updates MsolServicePrincipal registratio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Configure virtual directory </a:t>
            </a:r>
            <a:r>
              <a:rPr lang="en-US" sz="2000" i="1" dirty="0"/>
              <a:t>ExternalUrl</a:t>
            </a:r>
            <a:r>
              <a:rPr lang="en-US" sz="2000" dirty="0"/>
              <a:t> settings (MAPI, EWS, OAB) </a:t>
            </a:r>
            <a:r>
              <a:rPr lang="en-US" sz="2000" b="1" dirty="0"/>
              <a:t>before</a:t>
            </a:r>
            <a:r>
              <a:rPr lang="en-US" sz="2000" dirty="0"/>
              <a:t> running HCW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onfigure and test external access to your on-premises Exchange organization before running HCW</a:t>
            </a:r>
          </a:p>
          <a:p>
            <a:pPr marL="903016" lvl="2" indent="0">
              <a:buClr>
                <a:schemeClr val="tx2"/>
              </a:buClr>
              <a:buNone/>
            </a:pPr>
            <a:r>
              <a:rPr lang="en-US" dirty="0">
                <a:sym typeface="Wingdings" panose="05000000000000000000" pitchFamily="2" charset="2"/>
              </a:rPr>
              <a:t> Test Connectivity </a:t>
            </a:r>
            <a:r>
              <a:rPr lang="en-US" dirty="0">
                <a:sym typeface="Wingdings" panose="05000000000000000000" pitchFamily="2" charset="2"/>
                <a:hlinkClick r:id="rId3"/>
              </a:rPr>
              <a:t>https://testconnectivity.microsoft.com/</a:t>
            </a:r>
            <a:r>
              <a:rPr lang="en-US" dirty="0">
                <a:sym typeface="Wingdings" panose="05000000000000000000" pitchFamily="2" charset="2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33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2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6E06259-5BE3-4F78-B6F7-8C0336580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E79645-F3B2-492D-861C-92F6431C6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Auth Configur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D01121-7C50-4E07-A2F1-B54ACD75CE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066DF9D-04EA-449B-8D78-0D9B68309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4004" y="1246134"/>
            <a:ext cx="8244466" cy="5952752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06EF588-CB32-452C-A006-6714019D8E10}"/>
              </a:ext>
            </a:extLst>
          </p:cNvPr>
          <p:cNvSpPr/>
          <p:nvPr/>
        </p:nvSpPr>
        <p:spPr>
          <a:xfrm>
            <a:off x="2809143" y="1450735"/>
            <a:ext cx="5781675" cy="38100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8BE7BB1-03BA-4C05-A5FB-FA5927525FDC}"/>
              </a:ext>
            </a:extLst>
          </p:cNvPr>
          <p:cNvSpPr/>
          <p:nvPr/>
        </p:nvSpPr>
        <p:spPr>
          <a:xfrm>
            <a:off x="2038350" y="1972411"/>
            <a:ext cx="6241074" cy="4832839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850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Auth Configur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Install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icrosoftOnlin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PowerShell module if not availabl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quiere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administrative PowerShell Session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stall-Module -Nam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nlin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Connect to Microsoft Online tenant as Global Admin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onnect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lServic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Set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Service Principal Office 365 Exchange Onlin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erviceNam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= "00000002-0000-0ff1-ce00-000000000000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Query Service Principal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$Principal = Get-MsolServicePrincipal 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AppPrincipalI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erviceNam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Add Exchange host authorities for AutoDiscover and Exchange endpoints (-&gt; Exchange Namespace)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incipal.ServicePrincipalnames.Ad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"https://mail.varunagroup.de/")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incipal.ServicePrincipalnames.Ad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("https://autodiscover.varunagroup.com/"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# Set new service principal configuration in your Microsoft 365 tenant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et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SOLServicePrincipa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AppPrincipalI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erviceNam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ervicePrincipalName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` $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incipal.ServicePrincipalName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;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F2324DC-CD78-44DB-B104-4FE63EFF7123}"/>
              </a:ext>
            </a:extLst>
          </p:cNvPr>
          <p:cNvSpPr txBox="1"/>
          <p:nvPr/>
        </p:nvSpPr>
        <p:spPr>
          <a:xfrm>
            <a:off x="432619" y="5915523"/>
            <a:ext cx="9724103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>
                <a:hlinkClick r:id="rId3"/>
              </a:rPr>
              <a:t>Configure OAuth authentication between Exchange and Exchange Online organizations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49223E4-9AA2-4B03-970E-339521E788D6}"/>
              </a:ext>
            </a:extLst>
          </p:cNvPr>
          <p:cNvSpPr/>
          <p:nvPr/>
        </p:nvSpPr>
        <p:spPr>
          <a:xfrm>
            <a:off x="432619" y="4183804"/>
            <a:ext cx="10353368" cy="750624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013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21E7FE-5169-4D7D-A3F1-EFEDF6F97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and Exchange Serve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6FBB5F-11F8-4438-99D2-572C409DE5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E230A0-FF65-4845-A2F7-C51017EC0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99A1E60-7B25-43F2-9023-DA876F82C6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Enable Azure AD Connect </a:t>
            </a:r>
            <a:r>
              <a:rPr lang="en-US" sz="2400" i="1" dirty="0"/>
              <a:t>Exchange Hybrid </a:t>
            </a:r>
            <a:r>
              <a:rPr lang="en-US" sz="2400" dirty="0"/>
              <a:t>before using Microsoft Teams with on-premises mailbox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Microsoft Teams uses shadow mailboxes in Exchange Online for storing compliance-relevant inform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Each SMTP domain used for authentication requires its own published AutoDiscover endpoin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Teams Services do not work with HTTP 302 redirect respons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Use an Edge-Router if you cannot use a single SAN-certificate, e.g., </a:t>
            </a:r>
            <a:r>
              <a:rPr lang="en-US" sz="2400" i="1" dirty="0" err="1"/>
              <a:t>Traeffic</a:t>
            </a:r>
            <a:endParaRPr lang="en-US" sz="2400" i="1" dirty="0"/>
          </a:p>
          <a:p>
            <a:pPr marL="903016" lvl="2" indent="0">
              <a:buClr>
                <a:schemeClr val="tx2"/>
              </a:buCl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88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B547299-E234-42EF-BD1D-D4BD9E250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Div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FE214A4-A972-41BB-9F79-CAAE2B1AA8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7E5CD-FA3C-4E22-A5E4-5FCA68E329D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076950"/>
            <a:ext cx="914400" cy="358775"/>
          </a:xfrm>
        </p:spPr>
        <p:txBody>
          <a:bodyPr/>
          <a:lstStyle/>
          <a:p>
            <a:fld id="{75A4F164-3A46-4CEE-A25C-CA523D5E42F3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12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7BC2E27-3DF9-439C-BF18-763D7FC9C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Backend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D200BF9-D0E3-4EDB-91BE-60E3F212E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toDiscover Proces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DB7B92-8B4F-4775-B396-2832FCB726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utoDiscover for EWS and REST API endpoint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Backend uses </a:t>
            </a:r>
            <a:r>
              <a:rPr lang="en-US" b="1" dirty="0"/>
              <a:t>AutoDiscover v2 JSON</a:t>
            </a:r>
            <a:r>
              <a:rPr lang="en-US" dirty="0"/>
              <a:t> only</a:t>
            </a:r>
          </a:p>
          <a:p>
            <a:pPr marL="457200" lvl="1" indent="0">
              <a:buClr>
                <a:schemeClr val="tx2"/>
              </a:buClr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b="1" dirty="0">
                <a:sym typeface="Wingdings" panose="05000000000000000000" pitchFamily="2" charset="2"/>
              </a:rPr>
              <a:t>Anonymous </a:t>
            </a:r>
            <a:r>
              <a:rPr lang="en-US" dirty="0">
                <a:sym typeface="Wingdings" panose="05000000000000000000" pitchFamily="2" charset="2"/>
              </a:rPr>
              <a:t>AutoDiscover request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/>
              <a:t>Sequenc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Backend AutoDiscover JSON request to </a:t>
            </a:r>
            <a:r>
              <a:rPr lang="en-US" b="1" dirty="0"/>
              <a:t>Exchange Onlin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Exchange Online checks </a:t>
            </a:r>
            <a:r>
              <a:rPr lang="en-US" b="1" dirty="0"/>
              <a:t>recipient type</a:t>
            </a:r>
          </a:p>
          <a:p>
            <a:pPr lvl="2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/>
              <a:t>Mailbox </a:t>
            </a:r>
            <a:r>
              <a:rPr lang="en-US" dirty="0">
                <a:sym typeface="Wingdings" panose="05000000000000000000" pitchFamily="2" charset="2"/>
              </a:rPr>
              <a:t> Response </a:t>
            </a:r>
            <a:r>
              <a:rPr lang="en-US" b="1" dirty="0">
                <a:sym typeface="Wingdings" panose="05000000000000000000" pitchFamily="2" charset="2"/>
              </a:rPr>
              <a:t>https://outlook.office365.com/EWS/Exchange.asmx </a:t>
            </a:r>
          </a:p>
          <a:p>
            <a:pPr lvl="2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>
                <a:sym typeface="Wingdings" panose="05000000000000000000" pitchFamily="2" charset="2"/>
              </a:rPr>
              <a:t>Mail User </a:t>
            </a:r>
            <a:r>
              <a:rPr lang="en-US" dirty="0">
                <a:sym typeface="Wingdings" panose="05000000000000000000" pitchFamily="2" charset="2"/>
              </a:rPr>
              <a:t> Detection of DNS AutoDiscover endpoint based on users </a:t>
            </a:r>
            <a:r>
              <a:rPr lang="en-US" i="1" dirty="0" err="1">
                <a:sym typeface="Wingdings" panose="05000000000000000000" pitchFamily="2" charset="2"/>
              </a:rPr>
              <a:t>ExternalEmailAddress</a:t>
            </a:r>
            <a:r>
              <a:rPr lang="en-US" dirty="0">
                <a:sym typeface="Wingdings" panose="05000000000000000000" pitchFamily="2" charset="2"/>
              </a:rPr>
              <a:t> attribute  i.e., </a:t>
            </a:r>
            <a:r>
              <a:rPr lang="en-US" b="1" dirty="0">
                <a:sym typeface="Wingdings" panose="05000000000000000000" pitchFamily="2" charset="2"/>
              </a:rPr>
              <a:t>autodiscover.varunagroup.d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Response HTTP 302 with endpoint target URL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Teams Backend AutoDiscover JSON request to on-premises Exchang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On-premises Exchange Server responds with EWS or REST URL </a:t>
            </a:r>
            <a:endParaRPr lang="en-US" dirty="0"/>
          </a:p>
          <a:p>
            <a:endParaRPr lang="en-US" dirty="0"/>
          </a:p>
        </p:txBody>
      </p:sp>
      <p:pic>
        <p:nvPicPr>
          <p:cNvPr id="7" name="Grafik 6" descr="Häkchen mit einfarbiger Füllung">
            <a:extLst>
              <a:ext uri="{FF2B5EF4-FFF2-40B4-BE49-F238E27FC236}">
                <a16:creationId xmlns:a16="http://schemas.microsoft.com/office/drawing/2014/main" id="{F30753BF-230D-48F5-AE80-6D4D60CE01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5470" y="3843345"/>
            <a:ext cx="555485" cy="555485"/>
          </a:xfrm>
          <a:prstGeom prst="rect">
            <a:avLst/>
          </a:prstGeom>
        </p:spPr>
      </p:pic>
      <p:pic>
        <p:nvPicPr>
          <p:cNvPr id="8" name="Grafik 7" descr="Häkchen mit einfarbiger Füllung">
            <a:extLst>
              <a:ext uri="{FF2B5EF4-FFF2-40B4-BE49-F238E27FC236}">
                <a16:creationId xmlns:a16="http://schemas.microsoft.com/office/drawing/2014/main" id="{EE583999-9F01-42EA-AADF-024BC66C1E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6554" y="5637780"/>
            <a:ext cx="555485" cy="555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5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4800" dirty="0"/>
              <a:t>Microsoft Teams and </a:t>
            </a:r>
            <a:br>
              <a:rPr lang="en-US" sz="4800" dirty="0"/>
            </a:br>
            <a:r>
              <a:rPr lang="en-US" sz="4800" dirty="0"/>
              <a:t>On-Premises Mailbox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en-US" dirty="0"/>
              <a:t>Troubleshooting 101</a:t>
            </a:r>
          </a:p>
        </p:txBody>
      </p:sp>
    </p:spTree>
    <p:extLst>
      <p:ext uri="{BB962C8B-B14F-4D97-AF65-F5344CB8AC3E}">
        <p14:creationId xmlns:p14="http://schemas.microsoft.com/office/powerpoint/2010/main" val="28406093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7BC2E27-3DF9-439C-BF18-763D7FC9C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Backend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D200BF9-D0E3-4EDB-91BE-60E3F212E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AutoDiscov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DB7B92-8B4F-4775-B396-2832FCB72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2" y="1483952"/>
            <a:ext cx="11449606" cy="4320000"/>
          </a:xfrm>
        </p:spPr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Local Teams Client Trace does not help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nonymous AutoDiscover v2 </a:t>
            </a:r>
            <a:r>
              <a:rPr lang="en-US" dirty="0">
                <a:sym typeface="Wingdings" panose="05000000000000000000" pitchFamily="2" charset="2"/>
              </a:rPr>
              <a:t> simple self-tes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PowerShell 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$email = 'AlexW@ixion-inc.de'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Invoke-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tMethod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Uri ('https://outlook.office365.com/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discover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discover.json?Email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{0}&amp;Protocol=EWS' -f $email)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Invoke-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tMethod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Uri ('https://outlook.office365.com/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discover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discover.json?Email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{0}&amp;Protocol=REST' -f $email)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Browser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https://outlook.office365.com/autodiscover/autodiscover.json?Email=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john.doe@varunagroup.d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amp;Protocol=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EW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b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https://outlook.office365.com/autodiscover/autodiscover.json?Email=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john.doe@varunagroup.d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amp;Protocol=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RES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Record Fiddler-Trace when executing the reque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81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BEDA1ED-4B8C-47B8-8DEA-7FAE9EDE4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Loggi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FC37288-C6AD-4977-BAB0-5B13E63F27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A81DF3-7A64-4409-9FFB-6977005239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17F1EC-2217-4622-BD1E-2DF13E853E4E}"/>
              </a:ext>
            </a:extLst>
          </p:cNvPr>
          <p:cNvSpPr/>
          <p:nvPr/>
        </p:nvSpPr>
        <p:spPr bwMode="auto">
          <a:xfrm>
            <a:off x="903206" y="1170995"/>
            <a:ext cx="1271521" cy="560604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7030A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129">
            <a:extLst>
              <a:ext uri="{FF2B5EF4-FFF2-40B4-BE49-F238E27FC236}">
                <a16:creationId xmlns:a16="http://schemas.microsoft.com/office/drawing/2014/main" id="{3676F701-FAEA-4E65-8007-08B05B59B8AA}"/>
              </a:ext>
            </a:extLst>
          </p:cNvPr>
          <p:cNvSpPr/>
          <p:nvPr/>
        </p:nvSpPr>
        <p:spPr>
          <a:xfrm>
            <a:off x="903206" y="6073384"/>
            <a:ext cx="1271521" cy="703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67"/>
            <a:r>
              <a:rPr lang="en-US" sz="1324" dirty="0">
                <a:solidFill>
                  <a:srgbClr val="7030A0"/>
                </a:solidFill>
                <a:latin typeface="Segoe UI"/>
              </a:rPr>
              <a:t>Teams Backend</a:t>
            </a:r>
            <a:br>
              <a:rPr lang="en-US" sz="1324" dirty="0">
                <a:solidFill>
                  <a:srgbClr val="7030A0"/>
                </a:solidFill>
                <a:latin typeface="Segoe UI"/>
              </a:rPr>
            </a:br>
            <a:r>
              <a:rPr lang="en-US" sz="1324" dirty="0">
                <a:solidFill>
                  <a:srgbClr val="7030A0"/>
                </a:solidFill>
                <a:latin typeface="Segoe UI"/>
              </a:rPr>
              <a:t>Services</a:t>
            </a:r>
          </a:p>
        </p:txBody>
      </p:sp>
      <p:pic>
        <p:nvPicPr>
          <p:cNvPr id="10" name="Grafik 9" descr="Cloud Silhouette">
            <a:extLst>
              <a:ext uri="{FF2B5EF4-FFF2-40B4-BE49-F238E27FC236}">
                <a16:creationId xmlns:a16="http://schemas.microsoft.com/office/drawing/2014/main" id="{9F7E945A-FF24-450A-8C00-5F02079F80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3207" y="2793241"/>
            <a:ext cx="1271520" cy="1271520"/>
          </a:xfrm>
          <a:prstGeom prst="rect">
            <a:avLst/>
          </a:prstGeom>
        </p:spPr>
      </p:pic>
      <p:pic>
        <p:nvPicPr>
          <p:cNvPr id="11" name="Picture 108">
            <a:extLst>
              <a:ext uri="{FF2B5EF4-FFF2-40B4-BE49-F238E27FC236}">
                <a16:creationId xmlns:a16="http://schemas.microsoft.com/office/drawing/2014/main" id="{FBF2D3E7-5BC4-4A75-958E-A650399C4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9227" y="3335481"/>
            <a:ext cx="345942" cy="28611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D1E6871-A411-412A-9D40-7DAAAB0B4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0916" y="3494494"/>
            <a:ext cx="325148" cy="325148"/>
          </a:xfrm>
          <a:prstGeom prst="rect">
            <a:avLst/>
          </a:prstGeom>
        </p:spPr>
      </p:pic>
      <p:sp>
        <p:nvSpPr>
          <p:cNvPr id="13" name="Rectangle 8">
            <a:extLst>
              <a:ext uri="{FF2B5EF4-FFF2-40B4-BE49-F238E27FC236}">
                <a16:creationId xmlns:a16="http://schemas.microsoft.com/office/drawing/2014/main" id="{A4B73498-AADC-42C0-AC7B-570B6FC9D3CF}"/>
              </a:ext>
            </a:extLst>
          </p:cNvPr>
          <p:cNvSpPr/>
          <p:nvPr/>
        </p:nvSpPr>
        <p:spPr bwMode="auto">
          <a:xfrm>
            <a:off x="2612878" y="1178560"/>
            <a:ext cx="8586512" cy="56060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335ED97-F64A-435F-8269-4789BE9C88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2820" y="947843"/>
            <a:ext cx="781050" cy="762000"/>
          </a:xfrm>
          <a:prstGeom prst="rect">
            <a:avLst/>
          </a:prstGeom>
        </p:spPr>
      </p:pic>
      <p:sp>
        <p:nvSpPr>
          <p:cNvPr id="15" name="Rounded Rectangle 93">
            <a:extLst>
              <a:ext uri="{FF2B5EF4-FFF2-40B4-BE49-F238E27FC236}">
                <a16:creationId xmlns:a16="http://schemas.microsoft.com/office/drawing/2014/main" id="{B6FC1246-EB33-4C20-86FB-249D517F8867}"/>
              </a:ext>
            </a:extLst>
          </p:cNvPr>
          <p:cNvSpPr/>
          <p:nvPr/>
        </p:nvSpPr>
        <p:spPr>
          <a:xfrm rot="5400000">
            <a:off x="3294029" y="278307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6" name="Rounded Rectangle 93">
            <a:extLst>
              <a:ext uri="{FF2B5EF4-FFF2-40B4-BE49-F238E27FC236}">
                <a16:creationId xmlns:a16="http://schemas.microsoft.com/office/drawing/2014/main" id="{A651F94C-60F5-430B-B68C-1521CFF54E21}"/>
              </a:ext>
            </a:extLst>
          </p:cNvPr>
          <p:cNvSpPr/>
          <p:nvPr/>
        </p:nvSpPr>
        <p:spPr>
          <a:xfrm rot="5400000">
            <a:off x="4736184" y="278307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17" name="Snip Single Corner Rectangle 46">
            <a:extLst>
              <a:ext uri="{FF2B5EF4-FFF2-40B4-BE49-F238E27FC236}">
                <a16:creationId xmlns:a16="http://schemas.microsoft.com/office/drawing/2014/main" id="{AFC01225-728B-4776-9DE2-F1F65F4EEF5A}"/>
              </a:ext>
            </a:extLst>
          </p:cNvPr>
          <p:cNvSpPr/>
          <p:nvPr/>
        </p:nvSpPr>
        <p:spPr>
          <a:xfrm>
            <a:off x="3665002" y="3323229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18" name="Rounded Rectangle 93">
            <a:extLst>
              <a:ext uri="{FF2B5EF4-FFF2-40B4-BE49-F238E27FC236}">
                <a16:creationId xmlns:a16="http://schemas.microsoft.com/office/drawing/2014/main" id="{0F1D1FFE-58F9-4F1F-850F-4F4433385EB6}"/>
              </a:ext>
            </a:extLst>
          </p:cNvPr>
          <p:cNvSpPr/>
          <p:nvPr/>
        </p:nvSpPr>
        <p:spPr>
          <a:xfrm rot="5400000">
            <a:off x="7392377" y="278307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9" name="Rounded Rectangle 93">
            <a:extLst>
              <a:ext uri="{FF2B5EF4-FFF2-40B4-BE49-F238E27FC236}">
                <a16:creationId xmlns:a16="http://schemas.microsoft.com/office/drawing/2014/main" id="{9C2E5569-ABA0-4085-BBA0-C3781EA3AD53}"/>
              </a:ext>
            </a:extLst>
          </p:cNvPr>
          <p:cNvSpPr/>
          <p:nvPr/>
        </p:nvSpPr>
        <p:spPr>
          <a:xfrm rot="5400000">
            <a:off x="8834532" y="278307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20" name="Snip Single Corner Rectangle 46">
            <a:extLst>
              <a:ext uri="{FF2B5EF4-FFF2-40B4-BE49-F238E27FC236}">
                <a16:creationId xmlns:a16="http://schemas.microsoft.com/office/drawing/2014/main" id="{87FB4F72-FBA2-423A-9170-9FA5245C7527}"/>
              </a:ext>
            </a:extLst>
          </p:cNvPr>
          <p:cNvSpPr/>
          <p:nvPr/>
        </p:nvSpPr>
        <p:spPr>
          <a:xfrm>
            <a:off x="7804710" y="3273689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06ADFCC-E37B-4EB6-9C26-51280C454F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3968" y="5248326"/>
            <a:ext cx="418386" cy="50327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1C19C97-8AD7-42C1-AC52-885947D8C9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6123" y="5248326"/>
            <a:ext cx="418386" cy="50327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B579DA8-5F7C-4D19-A2D7-754F68259E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51813" y="5248326"/>
            <a:ext cx="418386" cy="50327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C1D9E18-71D8-46A4-B0F0-8861FDF856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92316" y="5248326"/>
            <a:ext cx="418386" cy="503276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3F02044-52F6-42FE-886B-8D9621FD35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34471" y="5251504"/>
            <a:ext cx="418386" cy="503276"/>
          </a:xfrm>
          <a:prstGeom prst="rect">
            <a:avLst/>
          </a:prstGeom>
        </p:spPr>
      </p:pic>
      <p:sp>
        <p:nvSpPr>
          <p:cNvPr id="26" name="Rounded Rectangle 49">
            <a:extLst>
              <a:ext uri="{FF2B5EF4-FFF2-40B4-BE49-F238E27FC236}">
                <a16:creationId xmlns:a16="http://schemas.microsoft.com/office/drawing/2014/main" id="{6076DF33-7B2D-4C29-88B2-4F817A6C7A63}"/>
              </a:ext>
            </a:extLst>
          </p:cNvPr>
          <p:cNvSpPr/>
          <p:nvPr/>
        </p:nvSpPr>
        <p:spPr>
          <a:xfrm>
            <a:off x="4007141" y="1871035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27" name="Rounded Rectangle 49">
            <a:extLst>
              <a:ext uri="{FF2B5EF4-FFF2-40B4-BE49-F238E27FC236}">
                <a16:creationId xmlns:a16="http://schemas.microsoft.com/office/drawing/2014/main" id="{89566E8E-CA1B-4142-9012-CE733498CCDE}"/>
              </a:ext>
            </a:extLst>
          </p:cNvPr>
          <p:cNvSpPr/>
          <p:nvPr/>
        </p:nvSpPr>
        <p:spPr>
          <a:xfrm>
            <a:off x="8105489" y="1870049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28" name="Rounded Rectangle 49">
            <a:extLst>
              <a:ext uri="{FF2B5EF4-FFF2-40B4-BE49-F238E27FC236}">
                <a16:creationId xmlns:a16="http://schemas.microsoft.com/office/drawing/2014/main" id="{EC69C4F7-73FB-4FFD-B843-2AAD875039B8}"/>
              </a:ext>
            </a:extLst>
          </p:cNvPr>
          <p:cNvSpPr/>
          <p:nvPr/>
        </p:nvSpPr>
        <p:spPr>
          <a:xfrm>
            <a:off x="9556945" y="1867530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</a:t>
            </a:r>
          </a:p>
        </p:txBody>
      </p:sp>
      <p:cxnSp>
        <p:nvCxnSpPr>
          <p:cNvPr id="29" name="Straight Connector 20">
            <a:extLst>
              <a:ext uri="{FF2B5EF4-FFF2-40B4-BE49-F238E27FC236}">
                <a16:creationId xmlns:a16="http://schemas.microsoft.com/office/drawing/2014/main" id="{361696F2-801E-446C-898D-3F99C5AE3EF8}"/>
              </a:ext>
            </a:extLst>
          </p:cNvPr>
          <p:cNvCxnSpPr>
            <a:cxnSpLocks/>
            <a:endCxn id="15" idx="3"/>
          </p:cNvCxnSpPr>
          <p:nvPr/>
        </p:nvCxnSpPr>
        <p:spPr>
          <a:xfrm flipH="1">
            <a:off x="4603161" y="2178152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0">
            <a:extLst>
              <a:ext uri="{FF2B5EF4-FFF2-40B4-BE49-F238E27FC236}">
                <a16:creationId xmlns:a16="http://schemas.microsoft.com/office/drawing/2014/main" id="{CF8C9B56-1558-42E2-8ED8-BDD4B70CF2F3}"/>
              </a:ext>
            </a:extLst>
          </p:cNvPr>
          <p:cNvCxnSpPr>
            <a:cxnSpLocks/>
            <a:stCxn id="16" idx="1"/>
            <a:endCxn id="16" idx="3"/>
          </p:cNvCxnSpPr>
          <p:nvPr/>
        </p:nvCxnSpPr>
        <p:spPr>
          <a:xfrm>
            <a:off x="6045316" y="2026347"/>
            <a:ext cx="0" cy="2618265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0">
            <a:extLst>
              <a:ext uri="{FF2B5EF4-FFF2-40B4-BE49-F238E27FC236}">
                <a16:creationId xmlns:a16="http://schemas.microsoft.com/office/drawing/2014/main" id="{D79C87BE-8BBE-4199-AEBB-455A88CEB014}"/>
              </a:ext>
            </a:extLst>
          </p:cNvPr>
          <p:cNvCxnSpPr>
            <a:cxnSpLocks/>
          </p:cNvCxnSpPr>
          <p:nvPr/>
        </p:nvCxnSpPr>
        <p:spPr>
          <a:xfrm flipH="1">
            <a:off x="8698166" y="2178151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0">
            <a:extLst>
              <a:ext uri="{FF2B5EF4-FFF2-40B4-BE49-F238E27FC236}">
                <a16:creationId xmlns:a16="http://schemas.microsoft.com/office/drawing/2014/main" id="{A6DAE5A7-5849-4E50-A7B4-E5A14C13D38B}"/>
              </a:ext>
            </a:extLst>
          </p:cNvPr>
          <p:cNvCxnSpPr>
            <a:cxnSpLocks/>
          </p:cNvCxnSpPr>
          <p:nvPr/>
        </p:nvCxnSpPr>
        <p:spPr>
          <a:xfrm flipH="1">
            <a:off x="10137966" y="2193206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26237BA-4CA1-4EC8-9DE6-880B6C8FADCC}"/>
              </a:ext>
            </a:extLst>
          </p:cNvPr>
          <p:cNvCxnSpPr>
            <a:cxnSpLocks/>
          </p:cNvCxnSpPr>
          <p:nvPr/>
        </p:nvCxnSpPr>
        <p:spPr>
          <a:xfrm>
            <a:off x="4603161" y="2648145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0AE6F7DA-88B1-4D75-A64E-2C2D9EC97BF1}"/>
              </a:ext>
            </a:extLst>
          </p:cNvPr>
          <p:cNvCxnSpPr>
            <a:cxnSpLocks/>
          </p:cNvCxnSpPr>
          <p:nvPr/>
        </p:nvCxnSpPr>
        <p:spPr>
          <a:xfrm>
            <a:off x="8698166" y="3755888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BDE23BE6-5DED-48BB-84D0-9277A0BD4466}"/>
              </a:ext>
            </a:extLst>
          </p:cNvPr>
          <p:cNvCxnSpPr>
            <a:cxnSpLocks/>
            <a:endCxn id="17" idx="2"/>
          </p:cNvCxnSpPr>
          <p:nvPr/>
        </p:nvCxnSpPr>
        <p:spPr>
          <a:xfrm>
            <a:off x="2062513" y="3478540"/>
            <a:ext cx="1602489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85A00426-9756-4AAD-BE58-835F5B0ED5AD}"/>
              </a:ext>
            </a:extLst>
          </p:cNvPr>
          <p:cNvCxnSpPr>
            <a:stCxn id="15" idx="3"/>
            <a:endCxn id="23" idx="0"/>
          </p:cNvCxnSpPr>
          <p:nvPr/>
        </p:nvCxnSpPr>
        <p:spPr>
          <a:xfrm rot="5400000">
            <a:off x="3580227" y="4225392"/>
            <a:ext cx="603714" cy="1442155"/>
          </a:xfrm>
          <a:prstGeom prst="bentConnector3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59BCCFA5-C5DD-4832-B84B-C2E9A1C8C4DC}"/>
              </a:ext>
            </a:extLst>
          </p:cNvPr>
          <p:cNvCxnSpPr>
            <a:endCxn id="21" idx="0"/>
          </p:cNvCxnSpPr>
          <p:nvPr/>
        </p:nvCxnSpPr>
        <p:spPr>
          <a:xfrm flipH="1">
            <a:off x="4603161" y="4654357"/>
            <a:ext cx="2849" cy="593969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1DFC39ED-6F54-4254-9A8C-63669BBD8FCE}"/>
              </a:ext>
            </a:extLst>
          </p:cNvPr>
          <p:cNvCxnSpPr>
            <a:cxnSpLocks/>
            <a:stCxn id="16" idx="3"/>
            <a:endCxn id="22" idx="0"/>
          </p:cNvCxnSpPr>
          <p:nvPr/>
        </p:nvCxnSpPr>
        <p:spPr>
          <a:xfrm>
            <a:off x="6045316" y="4644612"/>
            <a:ext cx="0" cy="603714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2332B541-E3CD-432B-AC0F-7A8783D835B0}"/>
              </a:ext>
            </a:extLst>
          </p:cNvPr>
          <p:cNvCxnSpPr>
            <a:cxnSpLocks/>
            <a:stCxn id="18" idx="3"/>
          </p:cNvCxnSpPr>
          <p:nvPr/>
        </p:nvCxnSpPr>
        <p:spPr>
          <a:xfrm flipH="1">
            <a:off x="8698167" y="4644611"/>
            <a:ext cx="3342" cy="624506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D8F13AE-90A8-473E-85CD-BBA21780C9BA}"/>
              </a:ext>
            </a:extLst>
          </p:cNvPr>
          <p:cNvCxnSpPr>
            <a:cxnSpLocks/>
            <a:stCxn id="19" idx="3"/>
          </p:cNvCxnSpPr>
          <p:nvPr/>
        </p:nvCxnSpPr>
        <p:spPr>
          <a:xfrm flipH="1">
            <a:off x="10137968" y="4644611"/>
            <a:ext cx="5696" cy="618107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1" name="Grafik 40">
            <a:extLst>
              <a:ext uri="{FF2B5EF4-FFF2-40B4-BE49-F238E27FC236}">
                <a16:creationId xmlns:a16="http://schemas.microsoft.com/office/drawing/2014/main" id="{BA3F8209-E3CC-42FB-8B6F-B2400C07B2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602" y="5258608"/>
            <a:ext cx="418386" cy="503276"/>
          </a:xfrm>
          <a:prstGeom prst="rect">
            <a:avLst/>
          </a:prstGeom>
        </p:spPr>
      </p:pic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AD0DC0EC-01FF-4111-885B-181346BC4B3D}"/>
              </a:ext>
            </a:extLst>
          </p:cNvPr>
          <p:cNvCxnSpPr>
            <a:stCxn id="18" idx="3"/>
            <a:endCxn id="41" idx="0"/>
          </p:cNvCxnSpPr>
          <p:nvPr/>
        </p:nvCxnSpPr>
        <p:spPr>
          <a:xfrm rot="5400000">
            <a:off x="7807654" y="4364752"/>
            <a:ext cx="613997" cy="1173714"/>
          </a:xfrm>
          <a:prstGeom prst="bentConnector3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Rounded Rectangle 49">
            <a:extLst>
              <a:ext uri="{FF2B5EF4-FFF2-40B4-BE49-F238E27FC236}">
                <a16:creationId xmlns:a16="http://schemas.microsoft.com/office/drawing/2014/main" id="{63A0C082-F463-4263-AEAC-76E835230890}"/>
              </a:ext>
            </a:extLst>
          </p:cNvPr>
          <p:cNvSpPr/>
          <p:nvPr/>
        </p:nvSpPr>
        <p:spPr>
          <a:xfrm>
            <a:off x="5458758" y="1870049"/>
            <a:ext cx="1201341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 Proxy</a:t>
            </a:r>
          </a:p>
        </p:txBody>
      </p:sp>
      <p:sp>
        <p:nvSpPr>
          <p:cNvPr id="44" name="Rectangle 40">
            <a:extLst>
              <a:ext uri="{FF2B5EF4-FFF2-40B4-BE49-F238E27FC236}">
                <a16:creationId xmlns:a16="http://schemas.microsoft.com/office/drawing/2014/main" id="{E670764A-07F6-4878-BCC1-19D2DBF67851}"/>
              </a:ext>
            </a:extLst>
          </p:cNvPr>
          <p:cNvSpPr/>
          <p:nvPr/>
        </p:nvSpPr>
        <p:spPr>
          <a:xfrm>
            <a:off x="2681970" y="5750948"/>
            <a:ext cx="10038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u_exXXXXXX.log</a:t>
            </a:r>
          </a:p>
        </p:txBody>
      </p:sp>
      <p:sp>
        <p:nvSpPr>
          <p:cNvPr id="45" name="Rectangle 40">
            <a:extLst>
              <a:ext uri="{FF2B5EF4-FFF2-40B4-BE49-F238E27FC236}">
                <a16:creationId xmlns:a16="http://schemas.microsoft.com/office/drawing/2014/main" id="{B1163DC0-15D1-4C35-8885-6EDE641E9F49}"/>
              </a:ext>
            </a:extLst>
          </p:cNvPr>
          <p:cNvSpPr/>
          <p:nvPr/>
        </p:nvSpPr>
        <p:spPr>
          <a:xfrm>
            <a:off x="4069765" y="5750948"/>
            <a:ext cx="10599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httperrXXXXX.log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41DC0D85-4CF9-4A90-9E22-AC69C52155FE}"/>
              </a:ext>
            </a:extLst>
          </p:cNvPr>
          <p:cNvSpPr/>
          <p:nvPr/>
        </p:nvSpPr>
        <p:spPr>
          <a:xfrm>
            <a:off x="5211948" y="5752664"/>
            <a:ext cx="16667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HttpProxyXXXXXXXXXX-X.log</a:t>
            </a:r>
          </a:p>
        </p:txBody>
      </p:sp>
      <p:sp>
        <p:nvSpPr>
          <p:cNvPr id="47" name="Rectangle 40">
            <a:extLst>
              <a:ext uri="{FF2B5EF4-FFF2-40B4-BE49-F238E27FC236}">
                <a16:creationId xmlns:a16="http://schemas.microsoft.com/office/drawing/2014/main" id="{E0161965-8818-4AFF-9D84-3DD9487326D0}"/>
              </a:ext>
            </a:extLst>
          </p:cNvPr>
          <p:cNvSpPr/>
          <p:nvPr/>
        </p:nvSpPr>
        <p:spPr>
          <a:xfrm>
            <a:off x="8164308" y="5755009"/>
            <a:ext cx="10599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httperrXXXXX.log</a:t>
            </a:r>
          </a:p>
        </p:txBody>
      </p:sp>
      <p:sp>
        <p:nvSpPr>
          <p:cNvPr id="48" name="Rectangle 40">
            <a:extLst>
              <a:ext uri="{FF2B5EF4-FFF2-40B4-BE49-F238E27FC236}">
                <a16:creationId xmlns:a16="http://schemas.microsoft.com/office/drawing/2014/main" id="{B82801CC-92D3-472D-86CF-6D969B07A6B6}"/>
              </a:ext>
            </a:extLst>
          </p:cNvPr>
          <p:cNvSpPr/>
          <p:nvPr/>
        </p:nvSpPr>
        <p:spPr>
          <a:xfrm>
            <a:off x="7023794" y="5755009"/>
            <a:ext cx="10038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u_exXXXXXX.log</a:t>
            </a:r>
          </a:p>
        </p:txBody>
      </p:sp>
      <p:sp>
        <p:nvSpPr>
          <p:cNvPr id="49" name="Rectangle 40">
            <a:extLst>
              <a:ext uri="{FF2B5EF4-FFF2-40B4-BE49-F238E27FC236}">
                <a16:creationId xmlns:a16="http://schemas.microsoft.com/office/drawing/2014/main" id="{7FBE63AD-8FA0-41DC-9C43-2FD56D80CA53}"/>
              </a:ext>
            </a:extLst>
          </p:cNvPr>
          <p:cNvSpPr/>
          <p:nvPr/>
        </p:nvSpPr>
        <p:spPr>
          <a:xfrm>
            <a:off x="9497643" y="5750948"/>
            <a:ext cx="128634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EWS_XXXXXXXX-X.log</a:t>
            </a:r>
          </a:p>
        </p:txBody>
      </p:sp>
      <p:sp>
        <p:nvSpPr>
          <p:cNvPr id="50" name="Rectangle 40">
            <a:extLst>
              <a:ext uri="{FF2B5EF4-FFF2-40B4-BE49-F238E27FC236}">
                <a16:creationId xmlns:a16="http://schemas.microsoft.com/office/drawing/2014/main" id="{BEBA58DD-2620-4F01-9D01-669426C4A577}"/>
              </a:ext>
            </a:extLst>
          </p:cNvPr>
          <p:cNvSpPr/>
          <p:nvPr/>
        </p:nvSpPr>
        <p:spPr>
          <a:xfrm>
            <a:off x="2762418" y="6194379"/>
            <a:ext cx="2436763" cy="2308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81D3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netpub</a:t>
            </a:r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\logs\</a:t>
            </a:r>
            <a:r>
              <a:rPr lang="en-US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gFiles</a:t>
            </a:r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\</a:t>
            </a:r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W3SVC1</a:t>
            </a:r>
          </a:p>
        </p:txBody>
      </p:sp>
      <p:sp>
        <p:nvSpPr>
          <p:cNvPr id="51" name="Rectangle 40">
            <a:extLst>
              <a:ext uri="{FF2B5EF4-FFF2-40B4-BE49-F238E27FC236}">
                <a16:creationId xmlns:a16="http://schemas.microsoft.com/office/drawing/2014/main" id="{39ED98EA-D5B8-40B9-A953-AC6931209ECF}"/>
              </a:ext>
            </a:extLst>
          </p:cNvPr>
          <p:cNvSpPr/>
          <p:nvPr/>
        </p:nvSpPr>
        <p:spPr>
          <a:xfrm>
            <a:off x="7023794" y="6203491"/>
            <a:ext cx="2200420" cy="2308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81D3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netpub</a:t>
            </a:r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\logs\</a:t>
            </a:r>
            <a:r>
              <a:rPr lang="en-US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gFiles</a:t>
            </a:r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\</a:t>
            </a:r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W3SVC2</a:t>
            </a:r>
          </a:p>
        </p:txBody>
      </p:sp>
      <p:sp>
        <p:nvSpPr>
          <p:cNvPr id="52" name="Rectangle 40">
            <a:extLst>
              <a:ext uri="{FF2B5EF4-FFF2-40B4-BE49-F238E27FC236}">
                <a16:creationId xmlns:a16="http://schemas.microsoft.com/office/drawing/2014/main" id="{FE4DE4CD-3ABC-45F1-842B-979D11A6BFE2}"/>
              </a:ext>
            </a:extLst>
          </p:cNvPr>
          <p:cNvSpPr/>
          <p:nvPr/>
        </p:nvSpPr>
        <p:spPr>
          <a:xfrm>
            <a:off x="5248889" y="6194378"/>
            <a:ext cx="1629794" cy="2308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81D3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Logging\</a:t>
            </a:r>
            <a:r>
              <a:rPr lang="en-US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HTTPProxy</a:t>
            </a:r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\</a:t>
            </a:r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53" name="Rectangle 40">
            <a:extLst>
              <a:ext uri="{FF2B5EF4-FFF2-40B4-BE49-F238E27FC236}">
                <a16:creationId xmlns:a16="http://schemas.microsoft.com/office/drawing/2014/main" id="{669F2CD8-84A1-4D2E-B191-7EDEB0E9E49F}"/>
              </a:ext>
            </a:extLst>
          </p:cNvPr>
          <p:cNvSpPr/>
          <p:nvPr/>
        </p:nvSpPr>
        <p:spPr>
          <a:xfrm>
            <a:off x="9556945" y="6203491"/>
            <a:ext cx="1227042" cy="2308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181D3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Segoe UI" panose="020B0502040204020203" pitchFamily="34" charset="0"/>
                <a:cs typeface="Segoe UI" panose="020B0502040204020203" pitchFamily="34" charset="0"/>
              </a:rPr>
              <a:t>Logging\</a:t>
            </a:r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cxnSp>
        <p:nvCxnSpPr>
          <p:cNvPr id="54" name="Straight Connector 20">
            <a:extLst>
              <a:ext uri="{FF2B5EF4-FFF2-40B4-BE49-F238E27FC236}">
                <a16:creationId xmlns:a16="http://schemas.microsoft.com/office/drawing/2014/main" id="{6FEFDB8E-F21E-4110-BBFA-11569BA23702}"/>
              </a:ext>
            </a:extLst>
          </p:cNvPr>
          <p:cNvCxnSpPr>
            <a:cxnSpLocks/>
          </p:cNvCxnSpPr>
          <p:nvPr/>
        </p:nvCxnSpPr>
        <p:spPr>
          <a:xfrm>
            <a:off x="6968480" y="1178560"/>
            <a:ext cx="0" cy="560604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B56F928B-2F12-481F-9860-ED0AE7C93820}"/>
              </a:ext>
            </a:extLst>
          </p:cNvPr>
          <p:cNvCxnSpPr>
            <a:cxnSpLocks/>
          </p:cNvCxnSpPr>
          <p:nvPr/>
        </p:nvCxnSpPr>
        <p:spPr>
          <a:xfrm flipV="1">
            <a:off x="6045316" y="3164864"/>
            <a:ext cx="2655699" cy="2363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6" name="Rectangle 40">
            <a:extLst>
              <a:ext uri="{FF2B5EF4-FFF2-40B4-BE49-F238E27FC236}">
                <a16:creationId xmlns:a16="http://schemas.microsoft.com/office/drawing/2014/main" id="{4085B763-D9D1-46FA-803B-75C21AA546A9}"/>
              </a:ext>
            </a:extLst>
          </p:cNvPr>
          <p:cNvSpPr/>
          <p:nvPr/>
        </p:nvSpPr>
        <p:spPr>
          <a:xfrm>
            <a:off x="2955358" y="3238593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3</a:t>
            </a:r>
          </a:p>
        </p:txBody>
      </p:sp>
      <p:sp>
        <p:nvSpPr>
          <p:cNvPr id="57" name="Rectangle 40">
            <a:extLst>
              <a:ext uri="{FF2B5EF4-FFF2-40B4-BE49-F238E27FC236}">
                <a16:creationId xmlns:a16="http://schemas.microsoft.com/office/drawing/2014/main" id="{C3BD407C-CBE6-4F46-AC99-87C971A7EEF3}"/>
              </a:ext>
            </a:extLst>
          </p:cNvPr>
          <p:cNvSpPr/>
          <p:nvPr/>
        </p:nvSpPr>
        <p:spPr>
          <a:xfrm>
            <a:off x="7563562" y="2940623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4</a:t>
            </a:r>
          </a:p>
        </p:txBody>
      </p:sp>
      <p:pic>
        <p:nvPicPr>
          <p:cNvPr id="58" name="Grafik 57" descr="Marke 1 mit einfarbiger Füllung">
            <a:extLst>
              <a:ext uri="{FF2B5EF4-FFF2-40B4-BE49-F238E27FC236}">
                <a16:creationId xmlns:a16="http://schemas.microsoft.com/office/drawing/2014/main" id="{C7777BA1-7E37-4396-9150-DA76968845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69881" y="5161297"/>
            <a:ext cx="368161" cy="368161"/>
          </a:xfrm>
          <a:prstGeom prst="rect">
            <a:avLst/>
          </a:prstGeom>
        </p:spPr>
      </p:pic>
      <p:pic>
        <p:nvPicPr>
          <p:cNvPr id="59" name="Grafik 58" descr="Abzeichen mit einfarbiger Füllung">
            <a:extLst>
              <a:ext uri="{FF2B5EF4-FFF2-40B4-BE49-F238E27FC236}">
                <a16:creationId xmlns:a16="http://schemas.microsoft.com/office/drawing/2014/main" id="{6B31FA39-A427-49CC-9E71-1244D626B3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64257" y="5161297"/>
            <a:ext cx="373821" cy="373821"/>
          </a:xfrm>
          <a:prstGeom prst="rect">
            <a:avLst/>
          </a:prstGeom>
        </p:spPr>
      </p:pic>
      <p:pic>
        <p:nvPicPr>
          <p:cNvPr id="60" name="Grafik 59" descr="Marke 3 mit einfarbiger Füllung">
            <a:extLst>
              <a:ext uri="{FF2B5EF4-FFF2-40B4-BE49-F238E27FC236}">
                <a16:creationId xmlns:a16="http://schemas.microsoft.com/office/drawing/2014/main" id="{9FA48903-E282-4A57-99EE-4C1E48BF0B2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40444" y="5161298"/>
            <a:ext cx="368160" cy="368160"/>
          </a:xfrm>
          <a:prstGeom prst="rect">
            <a:avLst/>
          </a:prstGeom>
        </p:spPr>
      </p:pic>
      <p:pic>
        <p:nvPicPr>
          <p:cNvPr id="61" name="Grafik 60" descr="Marke 4 mit einfarbiger Füllung">
            <a:extLst>
              <a:ext uri="{FF2B5EF4-FFF2-40B4-BE49-F238E27FC236}">
                <a16:creationId xmlns:a16="http://schemas.microsoft.com/office/drawing/2014/main" id="{1E958EC4-35BA-4110-85B3-4E9AE5A2C32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70466" y="5155787"/>
            <a:ext cx="368161" cy="368161"/>
          </a:xfrm>
          <a:prstGeom prst="rect">
            <a:avLst/>
          </a:prstGeom>
        </p:spPr>
      </p:pic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722FAA6F-BAF6-4D53-B12A-57FA383360DA}"/>
              </a:ext>
            </a:extLst>
          </p:cNvPr>
          <p:cNvCxnSpPr>
            <a:cxnSpLocks/>
          </p:cNvCxnSpPr>
          <p:nvPr/>
        </p:nvCxnSpPr>
        <p:spPr>
          <a:xfrm>
            <a:off x="4171772" y="3494494"/>
            <a:ext cx="437087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3" name="Rectangle 49">
            <a:extLst>
              <a:ext uri="{FF2B5EF4-FFF2-40B4-BE49-F238E27FC236}">
                <a16:creationId xmlns:a16="http://schemas.microsoft.com/office/drawing/2014/main" id="{E3BA3A56-D068-4F06-B543-1018A93952AD}"/>
              </a:ext>
            </a:extLst>
          </p:cNvPr>
          <p:cNvSpPr/>
          <p:nvPr/>
        </p:nvSpPr>
        <p:spPr>
          <a:xfrm>
            <a:off x="6968480" y="6493528"/>
            <a:ext cx="4230902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Mailbox</a:t>
            </a:r>
          </a:p>
        </p:txBody>
      </p:sp>
      <p:sp>
        <p:nvSpPr>
          <p:cNvPr id="64" name="Rectangle 49">
            <a:extLst>
              <a:ext uri="{FF2B5EF4-FFF2-40B4-BE49-F238E27FC236}">
                <a16:creationId xmlns:a16="http://schemas.microsoft.com/office/drawing/2014/main" id="{C85E84EE-B294-43F7-84E6-AB34F45CA712}"/>
              </a:ext>
            </a:extLst>
          </p:cNvPr>
          <p:cNvSpPr/>
          <p:nvPr/>
        </p:nvSpPr>
        <p:spPr>
          <a:xfrm>
            <a:off x="2612878" y="6489456"/>
            <a:ext cx="4368026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Client Access Frontend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CBD7382-69E1-4A59-8A86-CCF38427C5FA}"/>
              </a:ext>
            </a:extLst>
          </p:cNvPr>
          <p:cNvSpPr txBox="1"/>
          <p:nvPr/>
        </p:nvSpPr>
        <p:spPr>
          <a:xfrm>
            <a:off x="3435620" y="994398"/>
            <a:ext cx="2660380" cy="38472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24B30340-495D-4D56-8DBB-070002AD2E79}"/>
              </a:ext>
            </a:extLst>
          </p:cNvPr>
          <p:cNvSpPr txBox="1"/>
          <p:nvPr/>
        </p:nvSpPr>
        <p:spPr>
          <a:xfrm>
            <a:off x="7736988" y="1015696"/>
            <a:ext cx="2660380" cy="38472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5DCE77F4-1E86-40F3-8AF6-95FA1CED740B}"/>
              </a:ext>
            </a:extLst>
          </p:cNvPr>
          <p:cNvSpPr txBox="1"/>
          <p:nvPr/>
        </p:nvSpPr>
        <p:spPr>
          <a:xfrm rot="20929270">
            <a:off x="7809770" y="1035523"/>
            <a:ext cx="2660380" cy="38472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erver A, B, C, …</a:t>
            </a:r>
          </a:p>
        </p:txBody>
      </p:sp>
    </p:spTree>
    <p:extLst>
      <p:ext uri="{BB962C8B-B14F-4D97-AF65-F5344CB8AC3E}">
        <p14:creationId xmlns:p14="http://schemas.microsoft.com/office/powerpoint/2010/main" val="3898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6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527DA88-34C5-4D64-9063-1FC22BBE5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30167C9-C00E-4D7D-B826-86358CB5A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AutoDiscover</a:t>
            </a:r>
          </a:p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0F45DB-FF9B-4711-9E5F-01B50EEF6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4234FEF-4746-41DE-96A4-06DF213C9F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utoDiscover returns unexpected EWS or REST URLs</a:t>
            </a:r>
            <a:br>
              <a:rPr lang="en-US" dirty="0"/>
            </a:br>
            <a:endParaRPr lang="en-US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 user has an on-premises Exchange mailbox but the response contains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outlook.office365.com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st likely the use has an additional mailbox in Exchange Online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Resolve duplicate mailbox situation</a:t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 response contains an URL that looks like an </a:t>
            </a:r>
            <a:r>
              <a:rPr lang="en-US" i="1" dirty="0"/>
              <a:t>internal</a:t>
            </a:r>
            <a:r>
              <a:rPr lang="en-US" dirty="0"/>
              <a:t> URL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exch01.varunagroup.local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 EWS </a:t>
            </a:r>
            <a:r>
              <a:rPr lang="en-US" i="1" dirty="0"/>
              <a:t>ExternalUrl</a:t>
            </a:r>
            <a:r>
              <a:rPr lang="en-US" dirty="0"/>
              <a:t> is not configured on </a:t>
            </a:r>
            <a:r>
              <a:rPr lang="en-US" b="1" dirty="0"/>
              <a:t>all </a:t>
            </a:r>
            <a:r>
              <a:rPr lang="en-US" dirty="0"/>
              <a:t>Exchange Servers</a:t>
            </a:r>
          </a:p>
        </p:txBody>
      </p:sp>
    </p:spTree>
    <p:extLst>
      <p:ext uri="{BB962C8B-B14F-4D97-AF65-F5344CB8AC3E}">
        <p14:creationId xmlns:p14="http://schemas.microsoft.com/office/powerpoint/2010/main" val="411636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2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527DA88-34C5-4D64-9063-1FC22BBE5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30167C9-C00E-4D7D-B826-86358CB5A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AutoDiscov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0F45DB-FF9B-4711-9E5F-01B50EEF6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4234FEF-4746-41DE-96A4-06DF213C9F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utoDiscover returns unexpected EWS or REST URLs</a:t>
            </a:r>
            <a:br>
              <a:rPr lang="en-US" dirty="0"/>
            </a:br>
            <a:endParaRPr lang="en-US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 user has an on-premises Exchange mailbox but the response contains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outlook.office365.com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ost likely the use has an additional mailbox in Exchange Online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Resolve duplicate mailbox situation</a:t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 response contains an URL that looks like an </a:t>
            </a:r>
            <a:r>
              <a:rPr lang="en-US" i="1" dirty="0"/>
              <a:t>internal</a:t>
            </a:r>
            <a:r>
              <a:rPr lang="en-US" dirty="0"/>
              <a:t> URL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exch01.varunagroup.local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 EWS </a:t>
            </a:r>
            <a:r>
              <a:rPr lang="en-US" i="1" dirty="0"/>
              <a:t>ExternalUrl</a:t>
            </a:r>
            <a:r>
              <a:rPr lang="en-US" dirty="0"/>
              <a:t> is not configured on </a:t>
            </a:r>
            <a:r>
              <a:rPr lang="en-US" b="1" dirty="0"/>
              <a:t>all </a:t>
            </a:r>
            <a:r>
              <a:rPr lang="en-US" dirty="0"/>
              <a:t>Exchange Servers</a:t>
            </a:r>
          </a:p>
        </p:txBody>
      </p:sp>
    </p:spTree>
    <p:extLst>
      <p:ext uri="{BB962C8B-B14F-4D97-AF65-F5344CB8AC3E}">
        <p14:creationId xmlns:p14="http://schemas.microsoft.com/office/powerpoint/2010/main" val="162106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2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8728BE-4994-4531-9C8E-A782EBF32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DAD52C-B9A7-4C14-B3AC-0D7D803CA3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AutoDiscov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020CE2-546B-4736-94AC-AEB39508FF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B5AFBB2-D66D-4FDE-A41C-22B30BAD6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utoDiscover returns unexpected EWS or REST URLs</a:t>
            </a:r>
            <a:br>
              <a:rPr lang="en-US" dirty="0"/>
            </a:br>
            <a:endParaRPr lang="en-US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he user has an on-premises mailbox in AD site EMEA but the response contains the URL of a different AD site</a:t>
            </a:r>
            <a:br>
              <a:rPr lang="en-US" dirty="0"/>
            </a:b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mail.apac.varunagroup.de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expected</a:t>
            </a:r>
            <a:br>
              <a:rPr lang="en-US" dirty="0"/>
            </a:b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https://mail.emea.varunagroup.de/EWS/Exchange.asmx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utoDiscover v2 was not AD site-aware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Update to a supported Exchange Server Cumulative Up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76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000D3D-9111-46E8-9F70-D3D002673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Backend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644EBE-042C-41E2-A7F1-B9E8CC7227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alendar-App Proce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5419E9-D5C3-4496-B92E-DD90EDC456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58A4CFF-84C5-48AF-B6D6-F45F8713F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Backend Services query calendar information using Exchange Web Servic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/>
              <a:t>Sequenc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Retrieve EWS URL as part of an AutoDiscover v2 request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Backend Services authenticate to on-premises Exchange using OAuth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Backend Services send EWS calendar request to Exchange Web Service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On-premises Exchange replies with calendar data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Middle-Tier transfers data to calendar app for further usa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57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D0798-831E-40B1-BDF4-52A164620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88437FC-0508-4723-98FC-DC9FC83C3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Calendar Ap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FA51BB-E774-483C-A9DA-74B2C5D7F0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7155817-AEC3-4D1D-A984-04294C60FD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Does the external DNS zone resolve the EWS host name and is the endpoint accessible?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se Fiddler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Open EWS URL in a browser, you must receive a HTTP 401 response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 Ensure that you are not connected to the company network</a:t>
            </a: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se the Test Connectivity test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Verify OAuth configuration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st-</a:t>
            </a:r>
            <a:r>
              <a:rPr lang="en-US" dirty="0" err="1"/>
              <a:t>OAuthConnectivity</a:t>
            </a:r>
            <a:r>
              <a:rPr lang="en-US" dirty="0"/>
              <a:t> cmdlet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Verify SPNs, </a:t>
            </a:r>
            <a:r>
              <a:rPr lang="en-US" dirty="0" err="1"/>
              <a:t>IntraOrganizationConnector</a:t>
            </a:r>
            <a:r>
              <a:rPr lang="en-US" dirty="0"/>
              <a:t> and </a:t>
            </a:r>
            <a:r>
              <a:rPr lang="en-US" dirty="0" err="1"/>
              <a:t>AuthServer</a:t>
            </a:r>
            <a:r>
              <a:rPr lang="en-US" dirty="0"/>
              <a:t> settings</a:t>
            </a:r>
          </a:p>
          <a:p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B86CE1-A305-4F54-A7DF-1F43675A6F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854" y="3543844"/>
            <a:ext cx="6706410" cy="12734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4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28847-3B8B-4259-84FB-784D92DE6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 Deleg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34ABF6-7433-4E27-B879-5D02F0D804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legate Access Proce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EA2361-5FEF-432A-A481-8072C97DCC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C49296A-8B5C-4B4F-838A-740151F455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reate a new Teams meeting from within the manager's calendar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uses EWS to query delegate information and permiss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You must use the Outlook delegate wizard for configur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/>
              <a:t>Sequenc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Delegate clicks „New Teams </a:t>
            </a:r>
            <a:r>
              <a:rPr lang="en-US" sz="1800" dirty="0" err="1"/>
              <a:t>Meeting”in</a:t>
            </a:r>
            <a:r>
              <a:rPr lang="en-US" sz="1800" dirty="0"/>
              <a:t> manager's Outlook calendar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Teams-</a:t>
            </a:r>
            <a:r>
              <a:rPr lang="en-US" sz="1800" dirty="0" err="1"/>
              <a:t>AddIn</a:t>
            </a:r>
            <a:r>
              <a:rPr lang="en-US" sz="1800" dirty="0"/>
              <a:t> connects to Teams Middle-Tier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Middle-Tier determines EWS URL using AutoDiscover V2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Teams Services connect and authenticate to on-premises /EWS </a:t>
            </a:r>
            <a:r>
              <a:rPr lang="en-US" sz="1800" dirty="0" err="1"/>
              <a:t>vDIR</a:t>
            </a:r>
            <a:r>
              <a:rPr lang="en-US" sz="1800" dirty="0"/>
              <a:t> using OAuth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Teams Services send a </a:t>
            </a:r>
            <a:r>
              <a:rPr lang="en-US" sz="1800" i="1" dirty="0" err="1"/>
              <a:t>GetDelegate</a:t>
            </a:r>
            <a:r>
              <a:rPr lang="en-US" sz="1800" dirty="0"/>
              <a:t> SOAP request for the Teams meeting to the manager's mailbox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Exchange Server responses with a delegate list and permission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800" dirty="0"/>
              <a:t>Teams Middle-Tier returns meeting information to </a:t>
            </a:r>
            <a:r>
              <a:rPr lang="en-US" sz="1800" dirty="0" err="1"/>
              <a:t>AddIn</a:t>
            </a: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75920FF8-DCAD-4DB1-9A8E-5A6257CE7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1520" y="2978005"/>
            <a:ext cx="723900" cy="6762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46D988-E6F8-4A5F-86D8-DC7D1D06D2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3345" y="5263060"/>
            <a:ext cx="2724150" cy="13049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276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B693CB-427F-49CA-A2BB-A1A3DF378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 Deleg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A09441-BB00-44DE-841D-B1C147275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oubleshooting Calendar Deleg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388A29-266A-4C2F-A495-FB541499A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0B56FE-3C0F-4F13-9C9A-92054C3E9F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Does the calendar app itself work correctly for the </a:t>
            </a:r>
            <a:br>
              <a:rPr lang="en-US" dirty="0"/>
            </a:br>
            <a:r>
              <a:rPr lang="en-US" dirty="0"/>
              <a:t>manager and delegate?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Run a manual </a:t>
            </a:r>
            <a:r>
              <a:rPr lang="en-US" i="1" dirty="0" err="1"/>
              <a:t>GetDelegate</a:t>
            </a:r>
            <a:r>
              <a:rPr lang="en-US" i="1" dirty="0"/>
              <a:t> </a:t>
            </a:r>
            <a:r>
              <a:rPr lang="en-US" dirty="0"/>
              <a:t>query with </a:t>
            </a:r>
            <a:r>
              <a:rPr lang="en-US" dirty="0" err="1"/>
              <a:t>SOAPe</a:t>
            </a:r>
            <a:r>
              <a:rPr lang="en-US" dirty="0"/>
              <a:t> clien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Do a Fiddler trace </a:t>
            </a:r>
            <a:r>
              <a:rPr lang="en-US" dirty="0">
                <a:sym typeface="Wingdings" panose="05000000000000000000" pitchFamily="2" charset="2"/>
              </a:rPr>
              <a:t> Status code 403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Use the Test Connectivity Tes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Calendar folder permission is not sufficient!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Verify EWS log files for </a:t>
            </a:r>
            <a:r>
              <a:rPr lang="en-US" i="1" dirty="0" err="1">
                <a:sym typeface="Wingdings" panose="05000000000000000000" pitchFamily="2" charset="2"/>
              </a:rPr>
              <a:t>GetDelegate</a:t>
            </a:r>
            <a:r>
              <a:rPr lang="en-US" i="1" dirty="0">
                <a:sym typeface="Wingdings" panose="05000000000000000000" pitchFamily="2" charset="2"/>
              </a:rPr>
              <a:t> </a:t>
            </a:r>
            <a:r>
              <a:rPr lang="en-US" dirty="0">
                <a:sym typeface="Wingdings" panose="05000000000000000000" pitchFamily="2" charset="2"/>
              </a:rPr>
              <a:t>reques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Verify the </a:t>
            </a:r>
            <a:r>
              <a:rPr lang="en-US" i="1" dirty="0" err="1">
                <a:sym typeface="Wingdings" panose="05000000000000000000" pitchFamily="2" charset="2"/>
              </a:rPr>
              <a:t>PartnerApp</a:t>
            </a:r>
            <a:r>
              <a:rPr lang="en-US" i="1" dirty="0">
                <a:sym typeface="Wingdings" panose="05000000000000000000" pitchFamily="2" charset="2"/>
              </a:rPr>
              <a:t> </a:t>
            </a:r>
            <a:r>
              <a:rPr lang="en-US" dirty="0">
                <a:sym typeface="Wingdings" panose="05000000000000000000" pitchFamily="2" charset="2"/>
              </a:rPr>
              <a:t>configur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Verify EWS Proxy and IIS </a:t>
            </a:r>
            <a:r>
              <a:rPr lang="en-US" dirty="0" err="1">
                <a:sym typeface="Wingdings" panose="05000000000000000000" pitchFamily="2" charset="2"/>
              </a:rPr>
              <a:t>FrontEnd</a:t>
            </a:r>
            <a:r>
              <a:rPr lang="en-US" dirty="0">
                <a:sym typeface="Wingdings" panose="05000000000000000000" pitchFamily="2" charset="2"/>
              </a:rPr>
              <a:t> log fil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Do a network trac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Eliminate Layer 7 network devices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 User Agent filtering</a:t>
            </a:r>
          </a:p>
          <a:p>
            <a:endParaRPr lang="en-US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0AE056AD-E179-494A-835F-8DEBBFB54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6299" y="1211543"/>
            <a:ext cx="3800475" cy="15049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3F56B5B4-00D3-4E0C-B871-8BE70A6876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1049" y="4271963"/>
            <a:ext cx="3895725" cy="1533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A4F6FDC-B0CF-4810-A8BB-9764DD93B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7726" y="2899819"/>
            <a:ext cx="4819048" cy="11809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097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AE142-03AD-4A06-972F-B75BF623F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-Based Pres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F7B495-BDA0-40C7-9C41-A3DC86A270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4B851A-8E51-4499-A319-7757D0424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03D807C-2916-4113-822B-0694097C8A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Automatic presence status „In a meeting”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Services use REST API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eams Client queries </a:t>
            </a:r>
            <a:r>
              <a:rPr lang="en-US" i="1" dirty="0"/>
              <a:t>Presence Service</a:t>
            </a:r>
            <a:r>
              <a:rPr lang="en-US" dirty="0"/>
              <a:t> every six minut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Two different mode option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Pull-Mode </a:t>
            </a:r>
            <a:r>
              <a:rPr lang="en-US" dirty="0">
                <a:sym typeface="Wingdings" panose="05000000000000000000" pitchFamily="2" charset="2"/>
              </a:rPr>
              <a:t> 1x per hour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Push-Mode  Subscription-based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With on-premises Exchange Server you have Pull-Mode onl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10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5F6780-642A-42ED-AB56-D47FDB5B2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3574BB-9A1A-45C2-8B6D-609C2D276C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15734D9-F780-4CC2-9DF6-005293538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5" y="1520890"/>
            <a:ext cx="5579745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omas Stensitzki</a:t>
            </a:r>
          </a:p>
          <a:p>
            <a:pPr marL="0" indent="0">
              <a:buNone/>
            </a:pP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nterprise Consultant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ranikos GmbH &amp; Co. KG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VP Office Apps &amp; Service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CT Regional Lead | MCSM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witter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3"/>
              </a:rPr>
              <a:t>@Stensitzki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b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inkedIn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4"/>
              </a:rPr>
              <a:t>https://linkedin.com/in/thomasstensitzki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buNone/>
            </a:pP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log DE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5"/>
              </a:rPr>
              <a:t>http://Blog.Granikos.eu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 </a:t>
            </a:r>
            <a:b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log EN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6"/>
              </a:rPr>
              <a:t>http://JustCantGetEnough.Granikos.eu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kern="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7"/>
              </a:rPr>
              <a:t>thomas.stensitzki@granikos.eu</a:t>
            </a:r>
            <a:r>
              <a:rPr lang="en-US" sz="16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</a:p>
        </p:txBody>
      </p:sp>
      <p:pic>
        <p:nvPicPr>
          <p:cNvPr id="11" name="Grafik 10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DE0E1E80-8730-462E-831E-20E5E09CF6D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547" y="1520890"/>
            <a:ext cx="1726913" cy="696744"/>
          </a:xfrm>
          <a:prstGeom prst="rect">
            <a:avLst/>
          </a:prstGeom>
        </p:spPr>
      </p:pic>
      <p:pic>
        <p:nvPicPr>
          <p:cNvPr id="6" name="Grafik 5" descr="Ein Bild, das Screenshot, Text enthält.&#10;&#10;Automatisch generierte Beschreibung">
            <a:hlinkClick r:id="rId9"/>
            <a:extLst>
              <a:ext uri="{FF2B5EF4-FFF2-40B4-BE49-F238E27FC236}">
                <a16:creationId xmlns:a16="http://schemas.microsoft.com/office/drawing/2014/main" id="{714C9855-9503-4D66-9187-CC10173428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857" y="711112"/>
            <a:ext cx="2121969" cy="30130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Grafik 6">
            <a:hlinkClick r:id="rId11"/>
            <a:extLst>
              <a:ext uri="{FF2B5EF4-FFF2-40B4-BE49-F238E27FC236}">
                <a16:creationId xmlns:a16="http://schemas.microsoft.com/office/drawing/2014/main" id="{820E83E9-AF6B-411E-8360-CA8BA5CA0494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9831858" y="3956152"/>
            <a:ext cx="2121969" cy="2699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388831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5C21A2-C1B6-4059-B87F-74C83634E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-Based Pres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1B43E4-916F-49D8-93A7-22148F3C37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sence Proce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04B853-6F42-4910-843B-8AC355E6DB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9F9DE17-DE8A-4A7D-815C-D38608BBF3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b="1" dirty="0"/>
              <a:t>Sequence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Middle-Tier determines REST URL using AutoDiscover V2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Teams Services connect and authenticate to on-premises /</a:t>
            </a:r>
            <a:r>
              <a:rPr lang="en-US" sz="2000" dirty="0" err="1"/>
              <a:t>api</a:t>
            </a:r>
            <a:r>
              <a:rPr lang="en-US" sz="2000" dirty="0"/>
              <a:t> </a:t>
            </a:r>
            <a:r>
              <a:rPr lang="en-US" sz="2000" dirty="0" err="1"/>
              <a:t>vDIR</a:t>
            </a:r>
            <a:r>
              <a:rPr lang="en-US" sz="2000" dirty="0"/>
              <a:t> with OAuth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Teams Services try to create a subscription and fail</a:t>
            </a:r>
            <a:br>
              <a:rPr lang="en-US" sz="2000" dirty="0"/>
            </a:br>
            <a:r>
              <a:rPr lang="en-US" sz="2000" dirty="0">
                <a:sym typeface="Wingdings" panose="05000000000000000000" pitchFamily="2" charset="2"/>
              </a:rPr>
              <a:t> Error: RPC endpoint not found</a:t>
            </a:r>
            <a:endParaRPr lang="en-US" sz="2000" dirty="0"/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Teams Services send a calendar query (Pull Mod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40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3BA895-DAFF-43DF-B572-F1742D53D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-Based Pres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A840FB-FC68-4869-BCAB-0EBFE0930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sence Troubleshoot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52B204-D0DF-4FAE-AE31-EA11E9E179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491388B-1736-478D-946E-F2C933ECED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Does the AutoDiscover response contain the /API URL and is the endpoint accessible from the Internet? 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Do a Fiddler-Trac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se Test Connectivity Tes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pdate REST CAFE </a:t>
            </a:r>
            <a:r>
              <a:rPr lang="en-US" i="1" dirty="0" err="1"/>
              <a:t>web.config</a:t>
            </a:r>
            <a:r>
              <a:rPr lang="en-US" i="1" dirty="0"/>
              <a:t> </a:t>
            </a:r>
            <a:r>
              <a:rPr lang="en-US" dirty="0"/>
              <a:t>if still on pre-December 2020 CU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Verify REST protocol log fil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Verify REST Proxy and IIS </a:t>
            </a:r>
            <a:r>
              <a:rPr lang="en-US" dirty="0" err="1"/>
              <a:t>FrontEnd</a:t>
            </a:r>
            <a:r>
              <a:rPr lang="en-US" dirty="0"/>
              <a:t> protocol log fil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Eliminate Layer 7 network devices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 User Agent filtering</a:t>
            </a:r>
          </a:p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A06A822-4199-4D8C-AEA0-647575170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3721" y="2015600"/>
            <a:ext cx="4828571" cy="1028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700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3BA895-DAFF-43DF-B572-F1742D53D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Calendar-Based Pres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A840FB-FC68-4869-BCAB-0EBFE0930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sence Troubleshoot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52B204-D0DF-4FAE-AE31-EA11E9E179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491388B-1736-478D-946E-F2C933ECED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Update REST CAFE </a:t>
            </a:r>
            <a:r>
              <a:rPr lang="en-US" dirty="0" err="1"/>
              <a:t>web.config</a:t>
            </a:r>
            <a:r>
              <a:rPr lang="en-US" dirty="0"/>
              <a:t> if still on pre-December 2020 CU</a:t>
            </a:r>
          </a:p>
          <a:p>
            <a:pPr marL="0" lvl="0" indent="0" defTabSz="932742">
              <a:lnSpc>
                <a:spcPct val="100000"/>
              </a:lnSpc>
              <a:spcBef>
                <a:spcPts val="0"/>
              </a:spcBef>
              <a:buSzPct val="90000"/>
              <a:buNone/>
            </a:pP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C:\Program Files\Microsoft\Exchange Server\V15\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rontEnd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\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HttpProxy</a:t>
            </a: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\Rest\</a:t>
            </a:r>
            <a:r>
              <a:rPr lang="en-US" sz="1100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web.config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 marL="0" lvl="0" indent="0" defTabSz="932742">
              <a:lnSpc>
                <a:spcPct val="100000"/>
              </a:lnSpc>
              <a:spcBef>
                <a:spcPts val="0"/>
              </a:spcBef>
              <a:buSzPct val="90000"/>
              <a:buNone/>
            </a:pP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ROM:</a:t>
            </a:r>
            <a:b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&lt;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httpRuntime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RequestLength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097151"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UrlLength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048"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questPathInvalidCharacters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&amp;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t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;,&gt;,*,%,\,?"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questValidationMode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.0" /&gt;</a:t>
            </a:r>
            <a:endParaRPr lang="en-US" sz="1100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 marL="0" lvl="0" indent="0" defTabSz="932742">
              <a:lnSpc>
                <a:spcPct val="100000"/>
              </a:lnSpc>
              <a:spcBef>
                <a:spcPts val="0"/>
              </a:spcBef>
              <a:buSzPct val="90000"/>
              <a:buNone/>
            </a:pPr>
            <a: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O:</a:t>
            </a:r>
            <a:br>
              <a:rPr lang="en-US" sz="11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&lt;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httpRuntime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RequestLength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097151"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UrlLength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048" </a:t>
            </a:r>
            <a:r>
              <a:rPr lang="en-US" sz="1100" i="1" dirty="0" err="1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QueryStringLength</a:t>
            </a:r>
            <a:r>
              <a:rPr lang="en-US" sz="1100" i="1" dirty="0">
                <a:solidFill>
                  <a:srgbClr val="000000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4096"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questPathInvalidCharacters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&amp;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t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;,&gt;,*,%,\,?" </a:t>
            </a:r>
            <a:r>
              <a:rPr lang="en-US" sz="1100" i="1" dirty="0" err="1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questValidationMode</a:t>
            </a:r>
            <a:r>
              <a:rPr lang="en-US" sz="1100" i="1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2.0" /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8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D94CE4-6E4F-4CD1-BD64-2CC75864D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Client Protocol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0DB346-1690-43E0-BF5C-E83597CA31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89651D-AD76-4740-B9FA-61C707B9E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ED15360-5875-4783-A2C1-B6E8E7DA2D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Local protocol files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%APPDATA% \Microsoft\Teams\logs.txt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%APPDATA%\Microsoft\Teams\media-Stack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%APPDATA%\Microsoft\Teams\</a:t>
            </a:r>
            <a:r>
              <a:rPr lang="en-US" sz="2000" dirty="0" err="1"/>
              <a:t>skylib</a:t>
            </a:r>
            <a:br>
              <a:rPr lang="en-US" sz="2000" dirty="0"/>
            </a:br>
            <a:endParaRPr lang="en-US" sz="2000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MS Teams diagnostic protocols (desktop / web client)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 err="1"/>
              <a:t>Strg</a:t>
            </a:r>
            <a:r>
              <a:rPr lang="en-US" sz="2000" dirty="0"/>
              <a:t> + Alt + Shift + 1</a:t>
            </a:r>
          </a:p>
          <a:p>
            <a:pPr lvl="1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Protocol files are </a:t>
            </a:r>
            <a:r>
              <a:rPr lang="en-US" dirty="0"/>
              <a:t>saved to </a:t>
            </a:r>
            <a:r>
              <a:rPr lang="en-US" sz="2000" dirty="0"/>
              <a:t>Downloads folder</a:t>
            </a:r>
          </a:p>
        </p:txBody>
      </p:sp>
    </p:spTree>
    <p:extLst>
      <p:ext uri="{BB962C8B-B14F-4D97-AF65-F5344CB8AC3E}">
        <p14:creationId xmlns:p14="http://schemas.microsoft.com/office/powerpoint/2010/main" val="288632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FF9246-0BE7-482F-AD40-F1451807A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Exchange 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8D65D1-B30F-43C1-8553-42FBD0888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train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7725B8-ECD0-420E-9ED0-22B6843E0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78CABEF-9819-40AB-B030-3FE6D0882F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 access to other personal calendar folders in your mailbox</a:t>
            </a:r>
          </a:p>
          <a:p>
            <a:r>
              <a:rPr lang="en-US" dirty="0"/>
              <a:t>No usage of </a:t>
            </a:r>
            <a:r>
              <a:rPr lang="en-US" b="1" dirty="0"/>
              <a:t>To Do </a:t>
            </a:r>
            <a:r>
              <a:rPr lang="en-US" dirty="0"/>
              <a:t>or Bookings with an on-premises mailbox</a:t>
            </a:r>
          </a:p>
          <a:p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0832BE-E3C1-40A7-9DF9-65149DF2B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6389" y="2696111"/>
            <a:ext cx="8038095" cy="441904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EBB8EFD-8538-4C9E-8F8E-FC0C4FCA01EA}"/>
              </a:ext>
            </a:extLst>
          </p:cNvPr>
          <p:cNvSpPr/>
          <p:nvPr/>
        </p:nvSpPr>
        <p:spPr>
          <a:xfrm>
            <a:off x="2256388" y="3147173"/>
            <a:ext cx="8038095" cy="112541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862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DB25ED-3906-4D9E-8557-A35C93D000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2E527F1-2D2B-4E9B-80CF-A57851DB1DDA}"/>
              </a:ext>
            </a:extLst>
          </p:cNvPr>
          <p:cNvSpPr txBox="1"/>
          <p:nvPr/>
        </p:nvSpPr>
        <p:spPr>
          <a:xfrm>
            <a:off x="7775168" y="6409266"/>
            <a:ext cx="4415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/>
              <a:t>Slides by </a:t>
            </a:r>
            <a:r>
              <a:rPr lang="en-US" sz="2000" u="sng" noProof="1">
                <a:solidFill>
                  <a:schemeClr val="bg1">
                    <a:lumMod val="50000"/>
                  </a:schemeClr>
                </a:solidFill>
                <a:hlinkClick r:id="rId3"/>
              </a:rPr>
              <a:t>www.SUBTIT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184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5F6780-642A-42ED-AB56-D47FDB5B2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3574BB-9A1A-45C2-8B6D-609C2D276C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15734D9-F780-4CC2-9DF6-005293538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5" y="1520890"/>
            <a:ext cx="5579745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omas Stensitzki</a:t>
            </a:r>
          </a:p>
          <a:p>
            <a:pPr marL="0" indent="0">
              <a:buNone/>
            </a:pP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nterprise Consultant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ranikos GmbH &amp; Co. KG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VP Office Apps &amp; Service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CT Regional Lead | MCSM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witter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3"/>
              </a:rPr>
              <a:t>@Stensitzki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b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inkedIn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4"/>
              </a:rPr>
              <a:t>https://linkedin.com/in/thomasstensitzki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buNone/>
            </a:pP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log DE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5"/>
              </a:rPr>
              <a:t>http://Blog.Granikos.eu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 </a:t>
            </a:r>
            <a:b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log EN: 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6"/>
              </a:rPr>
              <a:t>http://JustCantGetEnough.Granikos.eu</a:t>
            </a:r>
            <a:r>
              <a:rPr 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en-US" sz="20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sz="1600" kern="0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7"/>
              </a:rPr>
              <a:t>thomas.stensitzki@granikos.eu</a:t>
            </a:r>
            <a:r>
              <a:rPr lang="en-US" sz="1600" kern="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</a:p>
        </p:txBody>
      </p:sp>
      <p:pic>
        <p:nvPicPr>
          <p:cNvPr id="11" name="Grafik 10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DE0E1E80-8730-462E-831E-20E5E09CF6D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547" y="1520890"/>
            <a:ext cx="1726913" cy="696744"/>
          </a:xfrm>
          <a:prstGeom prst="rect">
            <a:avLst/>
          </a:prstGeom>
        </p:spPr>
      </p:pic>
      <p:pic>
        <p:nvPicPr>
          <p:cNvPr id="6" name="Grafik 5" descr="Ein Bild, das Screenshot, Text enthält.&#10;&#10;Automatisch generierte Beschreibung">
            <a:hlinkClick r:id="rId9"/>
            <a:extLst>
              <a:ext uri="{FF2B5EF4-FFF2-40B4-BE49-F238E27FC236}">
                <a16:creationId xmlns:a16="http://schemas.microsoft.com/office/drawing/2014/main" id="{714C9855-9503-4D66-9187-CC10173428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857" y="711112"/>
            <a:ext cx="2121969" cy="30130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Grafik 6">
            <a:hlinkClick r:id="rId11"/>
            <a:extLst>
              <a:ext uri="{FF2B5EF4-FFF2-40B4-BE49-F238E27FC236}">
                <a16:creationId xmlns:a16="http://schemas.microsoft.com/office/drawing/2014/main" id="{820E83E9-AF6B-411E-8360-CA8BA5CA0494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9831858" y="3956152"/>
            <a:ext cx="2121969" cy="2699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85024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hank You</a:t>
            </a:r>
            <a:r>
              <a:rPr lang="en-US" i="1" dirty="0"/>
              <a:t>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DB25ED-3906-4D9E-8557-A35C93D000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2E527F1-2D2B-4E9B-80CF-A57851DB1DDA}"/>
              </a:ext>
            </a:extLst>
          </p:cNvPr>
          <p:cNvSpPr txBox="1"/>
          <p:nvPr/>
        </p:nvSpPr>
        <p:spPr>
          <a:xfrm>
            <a:off x="7775168" y="6409266"/>
            <a:ext cx="4415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/>
              <a:t>Slides by </a:t>
            </a:r>
            <a:r>
              <a:rPr lang="en-US" sz="2000" u="sng" noProof="1">
                <a:solidFill>
                  <a:schemeClr val="bg1">
                    <a:lumMod val="50000"/>
                  </a:schemeClr>
                </a:solidFill>
                <a:hlinkClick r:id="rId3"/>
              </a:rPr>
              <a:t>www.SUBTIT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5055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6C46C0-AC8C-4065-8039-78595531C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source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5313F-A5EB-433B-9A26-4329188D09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1880794-0059-498A-8A41-5B3ADDB33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48A9921-AEF0-41FA-840C-0F1E5FB379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Create a hybrid deployment with the Hybrid Configuration wizard</a:t>
            </a:r>
            <a:endParaRPr lang="en-US" dirty="0"/>
          </a:p>
          <a:p>
            <a:r>
              <a:rPr lang="en-US" dirty="0">
                <a:hlinkClick r:id="rId3"/>
              </a:rPr>
              <a:t>Requirements to create and view meetings for mailboxes hosted on-premises</a:t>
            </a:r>
            <a:endParaRPr lang="en-US" dirty="0"/>
          </a:p>
          <a:p>
            <a:r>
              <a:rPr lang="en-US" dirty="0">
                <a:hlinkClick r:id="rId4"/>
              </a:rPr>
              <a:t>Use log files to monitor and troubleshoot Microsoft Teams</a:t>
            </a:r>
            <a:endParaRPr lang="en-US" dirty="0"/>
          </a:p>
          <a:p>
            <a:r>
              <a:rPr lang="en-US" dirty="0" err="1">
                <a:hlinkClick r:id="rId5"/>
              </a:rPr>
              <a:t>SOAPe</a:t>
            </a:r>
            <a:r>
              <a:rPr lang="en-US" dirty="0">
                <a:hlinkClick r:id="rId5"/>
              </a:rPr>
              <a:t>-Client</a:t>
            </a:r>
            <a:endParaRPr lang="en-US" dirty="0"/>
          </a:p>
          <a:p>
            <a:r>
              <a:rPr lang="en-US" dirty="0">
                <a:hlinkClick r:id="rId6"/>
              </a:rPr>
              <a:t>My user has a mailbox both on-premises and in Exchange Online. Help!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58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0C623BE-F2A4-4533-A1A9-91CF237E6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98BD0FF-23BA-4749-AAD8-3970D867F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133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69A1A65-5E2F-4A07-BDC1-2428C2EA2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Exchange Server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60284D-89A5-45CA-A6A5-2B68A0A3F7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3349C31-3CB6-4AFE-BE30-A4F224C9F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101" y="1483952"/>
            <a:ext cx="10295798" cy="51800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F2AE998-C80E-4D8C-967F-A4843EBD97A4}"/>
              </a:ext>
            </a:extLst>
          </p:cNvPr>
          <p:cNvSpPr/>
          <p:nvPr/>
        </p:nvSpPr>
        <p:spPr>
          <a:xfrm>
            <a:off x="952425" y="2616762"/>
            <a:ext cx="357338" cy="37070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8E57495-CAB5-4DB2-9D1E-AA5A6B1C427E}"/>
              </a:ext>
            </a:extLst>
          </p:cNvPr>
          <p:cNvSpPr/>
          <p:nvPr/>
        </p:nvSpPr>
        <p:spPr>
          <a:xfrm>
            <a:off x="1314087" y="1726704"/>
            <a:ext cx="9929812" cy="494455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029844FE-8361-490B-AB1E-A8E3DD0E71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76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D74C71-C2B3-4B88-8F0B-A18327460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Exchange 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458EFE-1AB3-4766-AEF5-E28301F8F0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D63C1-9C29-4103-8AD1-0DE922AA7BF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nter your footer text he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83E108-01CB-483E-94F6-9604D4DD9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D261ECB-2274-4965-A60E-8B959629F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021" y="1078992"/>
            <a:ext cx="10381957" cy="562356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2558EC0-58F2-4681-851C-2548ED01ED98}"/>
              </a:ext>
            </a:extLst>
          </p:cNvPr>
          <p:cNvSpPr/>
          <p:nvPr/>
        </p:nvSpPr>
        <p:spPr>
          <a:xfrm>
            <a:off x="1300674" y="2411906"/>
            <a:ext cx="9986303" cy="370156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12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1DC02-E8D2-4AA7-9C94-B22BFC95A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Calendar Access Architecture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5E0C04D-7076-4496-95C2-12DAE1B8E6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2110F95-6930-4345-A172-879DE8A6C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E818CBD-2BBB-4986-B3E6-FA4DA72B5477}"/>
              </a:ext>
            </a:extLst>
          </p:cNvPr>
          <p:cNvSpPr/>
          <p:nvPr/>
        </p:nvSpPr>
        <p:spPr>
          <a:xfrm>
            <a:off x="6562401" y="3235632"/>
            <a:ext cx="1280160" cy="761494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Scheduling Service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05A1DB3-9EEA-41F0-9E3E-7E7EBF552C00}"/>
              </a:ext>
            </a:extLst>
          </p:cNvPr>
          <p:cNvSpPr/>
          <p:nvPr/>
        </p:nvSpPr>
        <p:spPr>
          <a:xfrm>
            <a:off x="1898335" y="3235635"/>
            <a:ext cx="1613648" cy="761493"/>
          </a:xfrm>
          <a:prstGeom prst="rect">
            <a:avLst/>
          </a:prstGeom>
          <a:solidFill>
            <a:srgbClr val="464775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 Client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B5C13035-880C-4EBE-A558-168AF1D4D03B}"/>
              </a:ext>
            </a:extLst>
          </p:cNvPr>
          <p:cNvSpPr/>
          <p:nvPr/>
        </p:nvSpPr>
        <p:spPr>
          <a:xfrm>
            <a:off x="4561313" y="3221828"/>
            <a:ext cx="951758" cy="775298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</a:t>
            </a:r>
          </a:p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lendar Middle Tier</a:t>
            </a: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A2C9D5EA-18FE-485C-B021-18788D539954}"/>
              </a:ext>
            </a:extLst>
          </p:cNvPr>
          <p:cNvSpPr/>
          <p:nvPr/>
        </p:nvSpPr>
        <p:spPr>
          <a:xfrm>
            <a:off x="6562401" y="2137398"/>
            <a:ext cx="1280160" cy="76149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Exchange Online</a:t>
            </a: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410225A4-6D33-44E5-A7C7-72BA64B277BC}"/>
              </a:ext>
            </a:extLst>
          </p:cNvPr>
          <p:cNvSpPr/>
          <p:nvPr/>
        </p:nvSpPr>
        <p:spPr>
          <a:xfrm>
            <a:off x="6562401" y="4333867"/>
            <a:ext cx="1280160" cy="76149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Exchange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On-Premises</a:t>
            </a: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765DC907-350B-4948-AF65-F795D07092E7}"/>
              </a:ext>
            </a:extLst>
          </p:cNvPr>
          <p:cNvSpPr/>
          <p:nvPr/>
        </p:nvSpPr>
        <p:spPr>
          <a:xfrm>
            <a:off x="8891891" y="3235633"/>
            <a:ext cx="1280160" cy="76149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Chat Service</a:t>
            </a:r>
          </a:p>
        </p:txBody>
      </p:sp>
      <p:cxnSp>
        <p:nvCxnSpPr>
          <p:cNvPr id="12" name="Connector: Elbow 18">
            <a:extLst>
              <a:ext uri="{FF2B5EF4-FFF2-40B4-BE49-F238E27FC236}">
                <a16:creationId xmlns:a16="http://schemas.microsoft.com/office/drawing/2014/main" id="{CAE8EAFA-8C1E-445C-8728-F5E32E4E4EE2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5513071" y="2518145"/>
            <a:ext cx="1049330" cy="109133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23">
            <a:extLst>
              <a:ext uri="{FF2B5EF4-FFF2-40B4-BE49-F238E27FC236}">
                <a16:creationId xmlns:a16="http://schemas.microsoft.com/office/drawing/2014/main" id="{8EB2598D-6C66-4B0B-88F3-3204DD5B006F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5513071" y="3609477"/>
            <a:ext cx="1049330" cy="110513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B681FE-42E1-450F-B321-87060D709BDA}"/>
              </a:ext>
            </a:extLst>
          </p:cNvPr>
          <p:cNvCxnSpPr>
            <a:endCxn id="6" idx="1"/>
          </p:cNvCxnSpPr>
          <p:nvPr/>
        </p:nvCxnSpPr>
        <p:spPr>
          <a:xfrm flipV="1">
            <a:off x="5513071" y="3616379"/>
            <a:ext cx="1049330" cy="3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6CE3F78-9226-42ED-96A2-2A5957BE6CD0}"/>
              </a:ext>
            </a:extLst>
          </p:cNvPr>
          <p:cNvCxnSpPr>
            <a:cxnSpLocks/>
            <a:stCxn id="8" idx="1"/>
            <a:endCxn id="7" idx="3"/>
          </p:cNvCxnSpPr>
          <p:nvPr/>
        </p:nvCxnSpPr>
        <p:spPr>
          <a:xfrm flipH="1">
            <a:off x="3511983" y="3609477"/>
            <a:ext cx="1049330" cy="6905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F08EB83-E34C-414E-89B5-3031EE6CF709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>
            <a:off x="7842561" y="3616379"/>
            <a:ext cx="1049330" cy="1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FD622411-B6BA-4CFC-9655-4858135182C8}"/>
              </a:ext>
            </a:extLst>
          </p:cNvPr>
          <p:cNvSpPr txBox="1">
            <a:spLocks/>
          </p:cNvSpPr>
          <p:nvPr/>
        </p:nvSpPr>
        <p:spPr>
          <a:xfrm>
            <a:off x="1898334" y="5765865"/>
            <a:ext cx="9019602" cy="4110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  <a:buFont typeface="Wingdings" panose="05000000000000000000" pitchFamily="2" charset="2"/>
              <a:buChar char="à"/>
            </a:pPr>
            <a:r>
              <a:rPr lang="en-US" sz="2000" dirty="0">
                <a:latin typeface="Microsoft YaHei" panose="020B0503020204020204" pitchFamily="34" charset="-122"/>
                <a:ea typeface="Microsoft YaHei" panose="020B0503020204020204" pitchFamily="34" charset="-122"/>
                <a:sym typeface="Wingdings" panose="05000000000000000000" pitchFamily="2" charset="2"/>
              </a:rPr>
              <a:t> Access to your personal calendar in your personal mailbox</a:t>
            </a:r>
            <a:endParaRPr lang="en-US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7007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93A910-70D8-428A-913B-05C06A36D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- Architectur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2B55B6-3BE4-464C-8ADB-027C7B67AA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CDB30C-3195-4F05-9211-A1943CD86E0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nter your footer text he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2B81954-9035-4EFA-BAEB-E2D1F9E66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1380EEBD-571B-489E-A0F1-A57BF507AE0B}"/>
              </a:ext>
            </a:extLst>
          </p:cNvPr>
          <p:cNvSpPr/>
          <p:nvPr/>
        </p:nvSpPr>
        <p:spPr>
          <a:xfrm>
            <a:off x="712603" y="2737829"/>
            <a:ext cx="9839140" cy="3825384"/>
          </a:xfrm>
          <a:prstGeom prst="roundRect">
            <a:avLst>
              <a:gd name="adj" fmla="val 0"/>
            </a:avLst>
          </a:prstGeom>
          <a:solidFill>
            <a:srgbClr val="E6E6E6"/>
          </a:solidFill>
          <a:ln w="12700" cap="flat" cmpd="sng" algn="ctr">
            <a:solidFill>
              <a:srgbClr val="737373"/>
            </a:solidFill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t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Segoe UI"/>
                <a:cs typeface="Segoe UI Light" panose="020B0502040204020203" pitchFamily="34" charset="0"/>
              </a:rPr>
              <a:t>Services</a:t>
            </a:r>
          </a:p>
        </p:txBody>
      </p:sp>
      <p:cxnSp>
        <p:nvCxnSpPr>
          <p:cNvPr id="7" name="Straight Connector 4">
            <a:extLst>
              <a:ext uri="{FF2B5EF4-FFF2-40B4-BE49-F238E27FC236}">
                <a16:creationId xmlns:a16="http://schemas.microsoft.com/office/drawing/2014/main" id="{51B5F301-C21D-49FB-9027-7BA5B99C0B9D}"/>
              </a:ext>
            </a:extLst>
          </p:cNvPr>
          <p:cNvCxnSpPr>
            <a:cxnSpLocks/>
          </p:cNvCxnSpPr>
          <p:nvPr/>
        </p:nvCxnSpPr>
        <p:spPr>
          <a:xfrm flipV="1">
            <a:off x="3907751" y="2491266"/>
            <a:ext cx="0" cy="1406372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0F64AF80-CE6D-418A-BD29-A70DDD32077A}"/>
              </a:ext>
            </a:extLst>
          </p:cNvPr>
          <p:cNvCxnSpPr>
            <a:cxnSpLocks/>
          </p:cNvCxnSpPr>
          <p:nvPr/>
        </p:nvCxnSpPr>
        <p:spPr>
          <a:xfrm flipV="1">
            <a:off x="7680718" y="2518338"/>
            <a:ext cx="0" cy="134349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B9B05812-9230-4D31-B2F0-EA05197667D5}"/>
              </a:ext>
            </a:extLst>
          </p:cNvPr>
          <p:cNvCxnSpPr>
            <a:cxnSpLocks/>
          </p:cNvCxnSpPr>
          <p:nvPr/>
        </p:nvCxnSpPr>
        <p:spPr>
          <a:xfrm flipV="1">
            <a:off x="6208976" y="2541286"/>
            <a:ext cx="0" cy="1291242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0" name="TextBox 10">
            <a:extLst>
              <a:ext uri="{FF2B5EF4-FFF2-40B4-BE49-F238E27FC236}">
                <a16:creationId xmlns:a16="http://schemas.microsoft.com/office/drawing/2014/main" id="{F3185AD1-4CF2-459A-9EE6-1B8CDF39B49F}"/>
              </a:ext>
            </a:extLst>
          </p:cNvPr>
          <p:cNvSpPr txBox="1"/>
          <p:nvPr/>
        </p:nvSpPr>
        <p:spPr>
          <a:xfrm>
            <a:off x="4501027" y="4014146"/>
            <a:ext cx="134744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050" kern="0" dirty="0">
                <a:solidFill>
                  <a:prstClr val="black"/>
                </a:solidFill>
                <a:latin typeface="Segoe UI"/>
              </a:rPr>
              <a:t>Recent Files</a:t>
            </a:r>
          </a:p>
        </p:txBody>
      </p:sp>
      <p:cxnSp>
        <p:nvCxnSpPr>
          <p:cNvPr id="11" name="Elbow Connector 29">
            <a:extLst>
              <a:ext uri="{FF2B5EF4-FFF2-40B4-BE49-F238E27FC236}">
                <a16:creationId xmlns:a16="http://schemas.microsoft.com/office/drawing/2014/main" id="{6D98B89B-5C0E-42F1-B4B4-8A38F7939466}"/>
              </a:ext>
            </a:extLst>
          </p:cNvPr>
          <p:cNvCxnSpPr>
            <a:cxnSpLocks/>
            <a:stCxn id="48" idx="2"/>
            <a:endCxn id="38" idx="2"/>
          </p:cNvCxnSpPr>
          <p:nvPr/>
        </p:nvCxnSpPr>
        <p:spPr>
          <a:xfrm rot="5400000" flipH="1">
            <a:off x="4575427" y="3180885"/>
            <a:ext cx="58434" cy="3128738"/>
          </a:xfrm>
          <a:prstGeom prst="bentConnector3">
            <a:avLst>
              <a:gd name="adj1" fmla="val -391211"/>
            </a:avLst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2" name="Elbow Connector 30">
            <a:extLst>
              <a:ext uri="{FF2B5EF4-FFF2-40B4-BE49-F238E27FC236}">
                <a16:creationId xmlns:a16="http://schemas.microsoft.com/office/drawing/2014/main" id="{BAE2AFD7-0D53-4B15-9017-ED1393987A09}"/>
              </a:ext>
            </a:extLst>
          </p:cNvPr>
          <p:cNvCxnSpPr>
            <a:cxnSpLocks/>
            <a:endCxn id="28" idx="2"/>
          </p:cNvCxnSpPr>
          <p:nvPr/>
        </p:nvCxnSpPr>
        <p:spPr>
          <a:xfrm rot="10800000">
            <a:off x="2548838" y="4716036"/>
            <a:ext cx="593046" cy="288538"/>
          </a:xfrm>
          <a:prstGeom prst="bentConnector2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3" name="Elbow Connector 31">
            <a:extLst>
              <a:ext uri="{FF2B5EF4-FFF2-40B4-BE49-F238E27FC236}">
                <a16:creationId xmlns:a16="http://schemas.microsoft.com/office/drawing/2014/main" id="{14213437-1E4E-4653-A809-C017EDFECFD3}"/>
              </a:ext>
            </a:extLst>
          </p:cNvPr>
          <p:cNvCxnSpPr>
            <a:cxnSpLocks/>
            <a:endCxn id="27" idx="2"/>
          </p:cNvCxnSpPr>
          <p:nvPr/>
        </p:nvCxnSpPr>
        <p:spPr>
          <a:xfrm rot="10800000">
            <a:off x="1565967" y="4716036"/>
            <a:ext cx="970345" cy="288538"/>
          </a:xfrm>
          <a:prstGeom prst="bentConnector2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4" name="Rectangle 15">
            <a:extLst>
              <a:ext uri="{FF2B5EF4-FFF2-40B4-BE49-F238E27FC236}">
                <a16:creationId xmlns:a16="http://schemas.microsoft.com/office/drawing/2014/main" id="{5EC66EDD-CF26-4638-B5D4-60A59F898764}"/>
              </a:ext>
            </a:extLst>
          </p:cNvPr>
          <p:cNvSpPr/>
          <p:nvPr/>
        </p:nvSpPr>
        <p:spPr>
          <a:xfrm>
            <a:off x="10917068" y="2933693"/>
            <a:ext cx="972446" cy="659635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Telemetry</a:t>
            </a:r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018CA169-AE7D-4FE4-9CFB-A6CA2FBC8928}"/>
              </a:ext>
            </a:extLst>
          </p:cNvPr>
          <p:cNvCxnSpPr>
            <a:cxnSpLocks/>
          </p:cNvCxnSpPr>
          <p:nvPr/>
        </p:nvCxnSpPr>
        <p:spPr>
          <a:xfrm flipV="1">
            <a:off x="2551321" y="2480050"/>
            <a:ext cx="0" cy="1417588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6" name="TextBox 18">
            <a:extLst>
              <a:ext uri="{FF2B5EF4-FFF2-40B4-BE49-F238E27FC236}">
                <a16:creationId xmlns:a16="http://schemas.microsoft.com/office/drawing/2014/main" id="{E436552D-892A-43B7-844A-952F33CABA36}"/>
              </a:ext>
            </a:extLst>
          </p:cNvPr>
          <p:cNvSpPr txBox="1"/>
          <p:nvPr/>
        </p:nvSpPr>
        <p:spPr>
          <a:xfrm rot="16200000">
            <a:off x="2231281" y="3262510"/>
            <a:ext cx="479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Files</a:t>
            </a:r>
          </a:p>
        </p:txBody>
      </p:sp>
      <p:cxnSp>
        <p:nvCxnSpPr>
          <p:cNvPr id="17" name="Straight Connector 19">
            <a:extLst>
              <a:ext uri="{FF2B5EF4-FFF2-40B4-BE49-F238E27FC236}">
                <a16:creationId xmlns:a16="http://schemas.microsoft.com/office/drawing/2014/main" id="{7D59A8F7-EB51-44F4-9FEB-64A57DD04502}"/>
              </a:ext>
            </a:extLst>
          </p:cNvPr>
          <p:cNvCxnSpPr>
            <a:cxnSpLocks/>
          </p:cNvCxnSpPr>
          <p:nvPr/>
        </p:nvCxnSpPr>
        <p:spPr>
          <a:xfrm flipV="1">
            <a:off x="2060190" y="2607717"/>
            <a:ext cx="0" cy="1289921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8" name="TextBox 20">
            <a:extLst>
              <a:ext uri="{FF2B5EF4-FFF2-40B4-BE49-F238E27FC236}">
                <a16:creationId xmlns:a16="http://schemas.microsoft.com/office/drawing/2014/main" id="{379E5D4F-26DC-4E7F-9E26-B9570BB1C8BC}"/>
              </a:ext>
            </a:extLst>
          </p:cNvPr>
          <p:cNvSpPr txBox="1"/>
          <p:nvPr/>
        </p:nvSpPr>
        <p:spPr>
          <a:xfrm rot="16200000">
            <a:off x="1543521" y="3017348"/>
            <a:ext cx="1035861" cy="451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lnSpc>
                <a:spcPts val="1400"/>
              </a:lnSpc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Web </a:t>
            </a:r>
          </a:p>
          <a:p>
            <a:pPr defTabSz="896386">
              <a:lnSpc>
                <a:spcPts val="1400"/>
              </a:lnSpc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Companions</a:t>
            </a:r>
          </a:p>
        </p:txBody>
      </p: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8FB3CFEA-CA9B-4C0B-8857-AF6F3700C877}"/>
              </a:ext>
            </a:extLst>
          </p:cNvPr>
          <p:cNvCxnSpPr>
            <a:cxnSpLocks/>
          </p:cNvCxnSpPr>
          <p:nvPr/>
        </p:nvCxnSpPr>
        <p:spPr>
          <a:xfrm flipV="1">
            <a:off x="1569059" y="2491266"/>
            <a:ext cx="0" cy="1406372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20" name="TextBox 22">
            <a:extLst>
              <a:ext uri="{FF2B5EF4-FFF2-40B4-BE49-F238E27FC236}">
                <a16:creationId xmlns:a16="http://schemas.microsoft.com/office/drawing/2014/main" id="{1EA97E38-3784-4A1F-BD83-D15D313412E1}"/>
              </a:ext>
            </a:extLst>
          </p:cNvPr>
          <p:cNvSpPr txBox="1"/>
          <p:nvPr/>
        </p:nvSpPr>
        <p:spPr>
          <a:xfrm rot="16200000">
            <a:off x="1175471" y="3273948"/>
            <a:ext cx="5886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Notes</a:t>
            </a:r>
          </a:p>
        </p:txBody>
      </p:sp>
      <p:cxnSp>
        <p:nvCxnSpPr>
          <p:cNvPr id="21" name="Straight Connector 23">
            <a:extLst>
              <a:ext uri="{FF2B5EF4-FFF2-40B4-BE49-F238E27FC236}">
                <a16:creationId xmlns:a16="http://schemas.microsoft.com/office/drawing/2014/main" id="{D31691B2-1DC6-47C4-8935-1419E0A83D2A}"/>
              </a:ext>
            </a:extLst>
          </p:cNvPr>
          <p:cNvCxnSpPr>
            <a:cxnSpLocks/>
          </p:cNvCxnSpPr>
          <p:nvPr/>
        </p:nvCxnSpPr>
        <p:spPr>
          <a:xfrm flipV="1">
            <a:off x="1077928" y="2502998"/>
            <a:ext cx="0" cy="1406372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22" name="TextBox 25">
            <a:extLst>
              <a:ext uri="{FF2B5EF4-FFF2-40B4-BE49-F238E27FC236}">
                <a16:creationId xmlns:a16="http://schemas.microsoft.com/office/drawing/2014/main" id="{064C6F49-7C2A-44C9-B5C5-4D6A9D4DD951}"/>
              </a:ext>
            </a:extLst>
          </p:cNvPr>
          <p:cNvSpPr txBox="1"/>
          <p:nvPr/>
        </p:nvSpPr>
        <p:spPr>
          <a:xfrm>
            <a:off x="4821127" y="4358258"/>
            <a:ext cx="7104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050" kern="0" dirty="0">
                <a:solidFill>
                  <a:prstClr val="black"/>
                </a:solidFill>
                <a:latin typeface="Segoe UI"/>
              </a:rPr>
              <a:t>Calendar</a:t>
            </a:r>
          </a:p>
        </p:txBody>
      </p:sp>
      <p:sp>
        <p:nvSpPr>
          <p:cNvPr id="23" name="Rectangle 26">
            <a:extLst>
              <a:ext uri="{FF2B5EF4-FFF2-40B4-BE49-F238E27FC236}">
                <a16:creationId xmlns:a16="http://schemas.microsoft.com/office/drawing/2014/main" id="{D05A24E7-3722-49F4-BC00-8F12D6ABDAC1}"/>
              </a:ext>
            </a:extLst>
          </p:cNvPr>
          <p:cNvSpPr/>
          <p:nvPr/>
        </p:nvSpPr>
        <p:spPr>
          <a:xfrm>
            <a:off x="9527532" y="3691892"/>
            <a:ext cx="839005" cy="327858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AAD</a:t>
            </a:r>
          </a:p>
        </p:txBody>
      </p:sp>
      <p:sp>
        <p:nvSpPr>
          <p:cNvPr id="24" name="TextBox 30">
            <a:extLst>
              <a:ext uri="{FF2B5EF4-FFF2-40B4-BE49-F238E27FC236}">
                <a16:creationId xmlns:a16="http://schemas.microsoft.com/office/drawing/2014/main" id="{A799B5F1-B060-425A-A173-03B2F471B5E1}"/>
              </a:ext>
            </a:extLst>
          </p:cNvPr>
          <p:cNvSpPr txBox="1"/>
          <p:nvPr/>
        </p:nvSpPr>
        <p:spPr>
          <a:xfrm>
            <a:off x="7627964" y="3103084"/>
            <a:ext cx="918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Messaging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39793D09-7FA8-4416-BBF7-96E3B5124C8E}"/>
              </a:ext>
            </a:extLst>
          </p:cNvPr>
          <p:cNvSpPr txBox="1"/>
          <p:nvPr/>
        </p:nvSpPr>
        <p:spPr>
          <a:xfrm>
            <a:off x="6200081" y="3027299"/>
            <a:ext cx="10727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Settings and </a:t>
            </a:r>
            <a:br>
              <a:rPr lang="en-US" sz="1200" kern="0" dirty="0">
                <a:solidFill>
                  <a:prstClr val="black"/>
                </a:solidFill>
                <a:latin typeface="Segoe UI"/>
              </a:rPr>
            </a:br>
            <a:r>
              <a:rPr lang="en-US" sz="1200" kern="0" dirty="0">
                <a:solidFill>
                  <a:prstClr val="black"/>
                </a:solidFill>
                <a:latin typeface="Segoe UI"/>
              </a:rPr>
              <a:t>M365 access</a:t>
            </a:r>
          </a:p>
        </p:txBody>
      </p:sp>
      <p:cxnSp>
        <p:nvCxnSpPr>
          <p:cNvPr id="26" name="Straight Connector 32">
            <a:extLst>
              <a:ext uri="{FF2B5EF4-FFF2-40B4-BE49-F238E27FC236}">
                <a16:creationId xmlns:a16="http://schemas.microsoft.com/office/drawing/2014/main" id="{C725266B-4780-489B-8726-CE8ED9790792}"/>
              </a:ext>
            </a:extLst>
          </p:cNvPr>
          <p:cNvCxnSpPr>
            <a:cxnSpLocks/>
            <a:stCxn id="48" idx="3"/>
            <a:endCxn id="57" idx="1"/>
          </p:cNvCxnSpPr>
          <p:nvPr/>
        </p:nvCxnSpPr>
        <p:spPr>
          <a:xfrm flipV="1">
            <a:off x="6626213" y="4235663"/>
            <a:ext cx="588555" cy="953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27" name="Rectangle 33">
            <a:extLst>
              <a:ext uri="{FF2B5EF4-FFF2-40B4-BE49-F238E27FC236}">
                <a16:creationId xmlns:a16="http://schemas.microsoft.com/office/drawing/2014/main" id="{19897B3B-54F6-4066-A730-485B4CD02AD8}"/>
              </a:ext>
            </a:extLst>
          </p:cNvPr>
          <p:cNvSpPr/>
          <p:nvPr/>
        </p:nvSpPr>
        <p:spPr>
          <a:xfrm>
            <a:off x="1375274" y="3708676"/>
            <a:ext cx="381383" cy="1007360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OneNote</a:t>
            </a:r>
          </a:p>
        </p:txBody>
      </p:sp>
      <p:sp>
        <p:nvSpPr>
          <p:cNvPr id="28" name="Rectangle 34">
            <a:extLst>
              <a:ext uri="{FF2B5EF4-FFF2-40B4-BE49-F238E27FC236}">
                <a16:creationId xmlns:a16="http://schemas.microsoft.com/office/drawing/2014/main" id="{39AF27DA-B790-4840-8B57-2B4C26C43D30}"/>
              </a:ext>
            </a:extLst>
          </p:cNvPr>
          <p:cNvSpPr/>
          <p:nvPr/>
        </p:nvSpPr>
        <p:spPr>
          <a:xfrm>
            <a:off x="2358146" y="3697433"/>
            <a:ext cx="381383" cy="1018603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OneDrive for Business</a:t>
            </a:r>
          </a:p>
        </p:txBody>
      </p:sp>
      <p:sp>
        <p:nvSpPr>
          <p:cNvPr id="29" name="Rectangle 35">
            <a:extLst>
              <a:ext uri="{FF2B5EF4-FFF2-40B4-BE49-F238E27FC236}">
                <a16:creationId xmlns:a16="http://schemas.microsoft.com/office/drawing/2014/main" id="{F94B333A-A891-4729-8877-2529758709EE}"/>
              </a:ext>
            </a:extLst>
          </p:cNvPr>
          <p:cNvSpPr/>
          <p:nvPr/>
        </p:nvSpPr>
        <p:spPr>
          <a:xfrm>
            <a:off x="1866710" y="3697433"/>
            <a:ext cx="381383" cy="1018603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WAC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E3B240DF-8C8D-446B-9ABF-E3D83DD0B355}"/>
              </a:ext>
            </a:extLst>
          </p:cNvPr>
          <p:cNvSpPr/>
          <p:nvPr/>
        </p:nvSpPr>
        <p:spPr>
          <a:xfrm>
            <a:off x="883838" y="3708676"/>
            <a:ext cx="381383" cy="1007360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Other Workloads</a:t>
            </a:r>
          </a:p>
        </p:txBody>
      </p:sp>
      <p:sp>
        <p:nvSpPr>
          <p:cNvPr id="31" name="Rectangle 48">
            <a:extLst>
              <a:ext uri="{FF2B5EF4-FFF2-40B4-BE49-F238E27FC236}">
                <a16:creationId xmlns:a16="http://schemas.microsoft.com/office/drawing/2014/main" id="{165F5FC7-79DA-411B-9D94-0A2E4B587DB3}"/>
              </a:ext>
            </a:extLst>
          </p:cNvPr>
          <p:cNvSpPr/>
          <p:nvPr/>
        </p:nvSpPr>
        <p:spPr>
          <a:xfrm>
            <a:off x="6208976" y="4877670"/>
            <a:ext cx="970343" cy="397573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Connectors</a:t>
            </a:r>
          </a:p>
        </p:txBody>
      </p:sp>
      <p:sp>
        <p:nvSpPr>
          <p:cNvPr id="32" name="TextBox 53">
            <a:extLst>
              <a:ext uri="{FF2B5EF4-FFF2-40B4-BE49-F238E27FC236}">
                <a16:creationId xmlns:a16="http://schemas.microsoft.com/office/drawing/2014/main" id="{D6D75116-8073-4BD2-9773-B93FB561AF86}"/>
              </a:ext>
            </a:extLst>
          </p:cNvPr>
          <p:cNvSpPr txBox="1"/>
          <p:nvPr/>
        </p:nvSpPr>
        <p:spPr>
          <a:xfrm>
            <a:off x="8698427" y="3021844"/>
            <a:ext cx="11751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Audio / </a:t>
            </a:r>
          </a:p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Video</a:t>
            </a:r>
          </a:p>
        </p:txBody>
      </p:sp>
      <p:sp>
        <p:nvSpPr>
          <p:cNvPr id="33" name="Rectangle 54">
            <a:extLst>
              <a:ext uri="{FF2B5EF4-FFF2-40B4-BE49-F238E27FC236}">
                <a16:creationId xmlns:a16="http://schemas.microsoft.com/office/drawing/2014/main" id="{5595228E-22C0-4125-B81A-C678AD33C276}"/>
              </a:ext>
            </a:extLst>
          </p:cNvPr>
          <p:cNvSpPr/>
          <p:nvPr/>
        </p:nvSpPr>
        <p:spPr>
          <a:xfrm>
            <a:off x="7907289" y="5583873"/>
            <a:ext cx="1051560" cy="40339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Search</a:t>
            </a:r>
          </a:p>
        </p:txBody>
      </p:sp>
      <p:cxnSp>
        <p:nvCxnSpPr>
          <p:cNvPr id="34" name="Straight Connector 63">
            <a:extLst>
              <a:ext uri="{FF2B5EF4-FFF2-40B4-BE49-F238E27FC236}">
                <a16:creationId xmlns:a16="http://schemas.microsoft.com/office/drawing/2014/main" id="{75630C3F-23BB-411C-A070-A03ED1466165}"/>
              </a:ext>
            </a:extLst>
          </p:cNvPr>
          <p:cNvCxnSpPr>
            <a:cxnSpLocks/>
            <a:stCxn id="70" idx="3"/>
            <a:endCxn id="36" idx="1"/>
          </p:cNvCxnSpPr>
          <p:nvPr/>
        </p:nvCxnSpPr>
        <p:spPr>
          <a:xfrm>
            <a:off x="10044590" y="6285986"/>
            <a:ext cx="862306" cy="527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35" name="Rectangle 64">
            <a:extLst>
              <a:ext uri="{FF2B5EF4-FFF2-40B4-BE49-F238E27FC236}">
                <a16:creationId xmlns:a16="http://schemas.microsoft.com/office/drawing/2014/main" id="{25B097FC-0884-4426-906A-F0D2A24A9E6D}"/>
              </a:ext>
            </a:extLst>
          </p:cNvPr>
          <p:cNvSpPr/>
          <p:nvPr/>
        </p:nvSpPr>
        <p:spPr>
          <a:xfrm>
            <a:off x="8993030" y="5595107"/>
            <a:ext cx="1051560" cy="403391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tification Service</a:t>
            </a:r>
          </a:p>
        </p:txBody>
      </p:sp>
      <p:sp>
        <p:nvSpPr>
          <p:cNvPr id="36" name="Rectangle 65">
            <a:extLst>
              <a:ext uri="{FF2B5EF4-FFF2-40B4-BE49-F238E27FC236}">
                <a16:creationId xmlns:a16="http://schemas.microsoft.com/office/drawing/2014/main" id="{45B970D3-8126-4E4E-8A98-83D00C96FE86}"/>
              </a:ext>
            </a:extLst>
          </p:cNvPr>
          <p:cNvSpPr/>
          <p:nvPr/>
        </p:nvSpPr>
        <p:spPr>
          <a:xfrm>
            <a:off x="10906896" y="6085345"/>
            <a:ext cx="982618" cy="402336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SMTP</a:t>
            </a:r>
          </a:p>
        </p:txBody>
      </p:sp>
      <p:cxnSp>
        <p:nvCxnSpPr>
          <p:cNvPr id="37" name="Straight Connector 66">
            <a:extLst>
              <a:ext uri="{FF2B5EF4-FFF2-40B4-BE49-F238E27FC236}">
                <a16:creationId xmlns:a16="http://schemas.microsoft.com/office/drawing/2014/main" id="{D798ECE0-222B-461E-8EBC-D37763ED0096}"/>
              </a:ext>
            </a:extLst>
          </p:cNvPr>
          <p:cNvCxnSpPr>
            <a:cxnSpLocks/>
          </p:cNvCxnSpPr>
          <p:nvPr/>
        </p:nvCxnSpPr>
        <p:spPr>
          <a:xfrm flipV="1">
            <a:off x="3042451" y="2543883"/>
            <a:ext cx="0" cy="1417588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38" name="Rectangle 77">
            <a:extLst>
              <a:ext uri="{FF2B5EF4-FFF2-40B4-BE49-F238E27FC236}">
                <a16:creationId xmlns:a16="http://schemas.microsoft.com/office/drawing/2014/main" id="{7461FBB3-BCD6-4F69-A3F2-883535FE16CA}"/>
              </a:ext>
            </a:extLst>
          </p:cNvPr>
          <p:cNvSpPr/>
          <p:nvPr/>
        </p:nvSpPr>
        <p:spPr>
          <a:xfrm>
            <a:off x="2849583" y="3697433"/>
            <a:ext cx="381383" cy="1018604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SharePoint</a:t>
            </a:r>
          </a:p>
        </p:txBody>
      </p:sp>
      <p:sp>
        <p:nvSpPr>
          <p:cNvPr id="39" name="Rectangle 28">
            <a:extLst>
              <a:ext uri="{FF2B5EF4-FFF2-40B4-BE49-F238E27FC236}">
                <a16:creationId xmlns:a16="http://schemas.microsoft.com/office/drawing/2014/main" id="{71AD73B4-E608-47F6-A7FD-94D5280051CC}"/>
              </a:ext>
            </a:extLst>
          </p:cNvPr>
          <p:cNvSpPr/>
          <p:nvPr/>
        </p:nvSpPr>
        <p:spPr>
          <a:xfrm>
            <a:off x="7214768" y="4869464"/>
            <a:ext cx="914400" cy="403391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sh / Subscribe</a:t>
            </a:r>
          </a:p>
        </p:txBody>
      </p:sp>
      <p:sp>
        <p:nvSpPr>
          <p:cNvPr id="40" name="Rectangle 46">
            <a:extLst>
              <a:ext uri="{FF2B5EF4-FFF2-40B4-BE49-F238E27FC236}">
                <a16:creationId xmlns:a16="http://schemas.microsoft.com/office/drawing/2014/main" id="{D88D636F-3EAD-42B4-AAFC-B5CEB5F15209}"/>
              </a:ext>
            </a:extLst>
          </p:cNvPr>
          <p:cNvSpPr/>
          <p:nvPr/>
        </p:nvSpPr>
        <p:spPr>
          <a:xfrm>
            <a:off x="5749781" y="5595107"/>
            <a:ext cx="1051560" cy="403391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sh Notifications</a:t>
            </a:r>
          </a:p>
        </p:txBody>
      </p:sp>
      <p:cxnSp>
        <p:nvCxnSpPr>
          <p:cNvPr id="41" name="Straight Connector 91">
            <a:extLst>
              <a:ext uri="{FF2B5EF4-FFF2-40B4-BE49-F238E27FC236}">
                <a16:creationId xmlns:a16="http://schemas.microsoft.com/office/drawing/2014/main" id="{55A52FFE-9223-4E13-B453-2A0539BAAD9C}"/>
              </a:ext>
            </a:extLst>
          </p:cNvPr>
          <p:cNvCxnSpPr>
            <a:cxnSpLocks/>
            <a:stCxn id="49" idx="0"/>
          </p:cNvCxnSpPr>
          <p:nvPr/>
        </p:nvCxnSpPr>
        <p:spPr>
          <a:xfrm flipV="1">
            <a:off x="8705707" y="2306242"/>
            <a:ext cx="0" cy="138565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42" name="Straight Connector 100">
            <a:extLst>
              <a:ext uri="{FF2B5EF4-FFF2-40B4-BE49-F238E27FC236}">
                <a16:creationId xmlns:a16="http://schemas.microsoft.com/office/drawing/2014/main" id="{B6ED1EE8-8A72-4D6F-81A1-4AB3145CC81D}"/>
              </a:ext>
            </a:extLst>
          </p:cNvPr>
          <p:cNvCxnSpPr>
            <a:cxnSpLocks/>
          </p:cNvCxnSpPr>
          <p:nvPr/>
        </p:nvCxnSpPr>
        <p:spPr>
          <a:xfrm flipV="1">
            <a:off x="4408776" y="3835757"/>
            <a:ext cx="1380027" cy="1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43" name="Straight Connector 103">
            <a:extLst>
              <a:ext uri="{FF2B5EF4-FFF2-40B4-BE49-F238E27FC236}">
                <a16:creationId xmlns:a16="http://schemas.microsoft.com/office/drawing/2014/main" id="{99A5F943-4959-4787-A65D-C51640093662}"/>
              </a:ext>
            </a:extLst>
          </p:cNvPr>
          <p:cNvCxnSpPr>
            <a:cxnSpLocks/>
          </p:cNvCxnSpPr>
          <p:nvPr/>
        </p:nvCxnSpPr>
        <p:spPr>
          <a:xfrm flipV="1">
            <a:off x="4408776" y="4207444"/>
            <a:ext cx="1380027" cy="1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44" name="Straight Connector 104">
            <a:extLst>
              <a:ext uri="{FF2B5EF4-FFF2-40B4-BE49-F238E27FC236}">
                <a16:creationId xmlns:a16="http://schemas.microsoft.com/office/drawing/2014/main" id="{4DD971FA-095D-4977-83D6-9E3139F6C9B3}"/>
              </a:ext>
            </a:extLst>
          </p:cNvPr>
          <p:cNvCxnSpPr>
            <a:cxnSpLocks/>
            <a:stCxn id="45" idx="3"/>
          </p:cNvCxnSpPr>
          <p:nvPr/>
        </p:nvCxnSpPr>
        <p:spPr>
          <a:xfrm>
            <a:off x="4638413" y="4579131"/>
            <a:ext cx="1111368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45" name="Rectangle 7">
            <a:extLst>
              <a:ext uri="{FF2B5EF4-FFF2-40B4-BE49-F238E27FC236}">
                <a16:creationId xmlns:a16="http://schemas.microsoft.com/office/drawing/2014/main" id="{E94F735F-2159-485F-8EEE-D666A9467A54}"/>
              </a:ext>
            </a:extLst>
          </p:cNvPr>
          <p:cNvSpPr/>
          <p:nvPr/>
        </p:nvSpPr>
        <p:spPr>
          <a:xfrm>
            <a:off x="3339566" y="4448935"/>
            <a:ext cx="1298847" cy="260392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E3C0D9EE-5D5D-4C39-9A0E-E07B59BA92C6}"/>
              </a:ext>
            </a:extLst>
          </p:cNvPr>
          <p:cNvSpPr/>
          <p:nvPr/>
        </p:nvSpPr>
        <p:spPr>
          <a:xfrm>
            <a:off x="3332603" y="3695144"/>
            <a:ext cx="1286050" cy="281226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erimentation</a:t>
            </a: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E26DBF31-191A-485E-8A3B-CBA9A37D7A02}"/>
              </a:ext>
            </a:extLst>
          </p:cNvPr>
          <p:cNvSpPr/>
          <p:nvPr/>
        </p:nvSpPr>
        <p:spPr>
          <a:xfrm>
            <a:off x="3339566" y="4073424"/>
            <a:ext cx="1307333" cy="268927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MRU</a:t>
            </a:r>
          </a:p>
        </p:txBody>
      </p:sp>
      <p:sp>
        <p:nvSpPr>
          <p:cNvPr id="48" name="Rectangle 60">
            <a:extLst>
              <a:ext uri="{FF2B5EF4-FFF2-40B4-BE49-F238E27FC236}">
                <a16:creationId xmlns:a16="http://schemas.microsoft.com/office/drawing/2014/main" id="{219F2B77-2F66-49D8-B87D-6CB34642F68B}"/>
              </a:ext>
            </a:extLst>
          </p:cNvPr>
          <p:cNvSpPr/>
          <p:nvPr/>
        </p:nvSpPr>
        <p:spPr>
          <a:xfrm>
            <a:off x="5711813" y="3698761"/>
            <a:ext cx="914400" cy="1075710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 Backend Services</a:t>
            </a:r>
          </a:p>
        </p:txBody>
      </p:sp>
      <p:sp>
        <p:nvSpPr>
          <p:cNvPr id="49" name="Rectangle 51">
            <a:extLst>
              <a:ext uri="{FF2B5EF4-FFF2-40B4-BE49-F238E27FC236}">
                <a16:creationId xmlns:a16="http://schemas.microsoft.com/office/drawing/2014/main" id="{910E88DF-5AE3-44B8-8932-61DCB8B407C0}"/>
              </a:ext>
            </a:extLst>
          </p:cNvPr>
          <p:cNvSpPr/>
          <p:nvPr/>
        </p:nvSpPr>
        <p:spPr>
          <a:xfrm>
            <a:off x="8248507" y="3691892"/>
            <a:ext cx="914400" cy="1069848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lls / Meet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0" name="Rectangle 80">
            <a:extLst>
              <a:ext uri="{FF2B5EF4-FFF2-40B4-BE49-F238E27FC236}">
                <a16:creationId xmlns:a16="http://schemas.microsoft.com/office/drawing/2014/main" id="{02CF10B5-86D0-4A69-A1EE-8F40F4C557B8}"/>
              </a:ext>
            </a:extLst>
          </p:cNvPr>
          <p:cNvSpPr/>
          <p:nvPr/>
        </p:nvSpPr>
        <p:spPr>
          <a:xfrm>
            <a:off x="8335304" y="4512609"/>
            <a:ext cx="681464" cy="1627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PSTN</a:t>
            </a:r>
          </a:p>
        </p:txBody>
      </p:sp>
      <p:sp>
        <p:nvSpPr>
          <p:cNvPr id="51" name="Rounded Rectangle 6">
            <a:extLst>
              <a:ext uri="{FF2B5EF4-FFF2-40B4-BE49-F238E27FC236}">
                <a16:creationId xmlns:a16="http://schemas.microsoft.com/office/drawing/2014/main" id="{84A4F1AE-4E53-446C-963F-CACCA5C089C0}"/>
              </a:ext>
            </a:extLst>
          </p:cNvPr>
          <p:cNvSpPr/>
          <p:nvPr/>
        </p:nvSpPr>
        <p:spPr>
          <a:xfrm>
            <a:off x="712601" y="1365268"/>
            <a:ext cx="9839140" cy="1167381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737373"/>
            </a:solidFill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t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Segoe UI"/>
                <a:cs typeface="Segoe UI Light" panose="020B0502040204020203" pitchFamily="34" charset="0"/>
              </a:rPr>
              <a:t>Teams Clients</a:t>
            </a:r>
          </a:p>
        </p:txBody>
      </p:sp>
      <p:sp>
        <p:nvSpPr>
          <p:cNvPr id="52" name="Rounded Rectangle 13">
            <a:extLst>
              <a:ext uri="{FF2B5EF4-FFF2-40B4-BE49-F238E27FC236}">
                <a16:creationId xmlns:a16="http://schemas.microsoft.com/office/drawing/2014/main" id="{81B59853-D254-436D-9581-A6F8D4EECC57}"/>
              </a:ext>
            </a:extLst>
          </p:cNvPr>
          <p:cNvSpPr/>
          <p:nvPr/>
        </p:nvSpPr>
        <p:spPr>
          <a:xfrm>
            <a:off x="4307603" y="172413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ktop</a:t>
            </a:r>
          </a:p>
        </p:txBody>
      </p:sp>
      <p:sp>
        <p:nvSpPr>
          <p:cNvPr id="53" name="Rounded Rectangle 14">
            <a:extLst>
              <a:ext uri="{FF2B5EF4-FFF2-40B4-BE49-F238E27FC236}">
                <a16:creationId xmlns:a16="http://schemas.microsoft.com/office/drawing/2014/main" id="{9FE7F262-BF76-4910-B359-C03484087CC7}"/>
              </a:ext>
            </a:extLst>
          </p:cNvPr>
          <p:cNvSpPr/>
          <p:nvPr/>
        </p:nvSpPr>
        <p:spPr>
          <a:xfrm>
            <a:off x="5755671" y="172413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54" name="Rounded Rectangle 15">
            <a:extLst>
              <a:ext uri="{FF2B5EF4-FFF2-40B4-BE49-F238E27FC236}">
                <a16:creationId xmlns:a16="http://schemas.microsoft.com/office/drawing/2014/main" id="{554E19A2-46A3-4727-A8F5-70EA72599EBC}"/>
              </a:ext>
            </a:extLst>
          </p:cNvPr>
          <p:cNvSpPr/>
          <p:nvPr/>
        </p:nvSpPr>
        <p:spPr>
          <a:xfrm>
            <a:off x="7184421" y="172413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roi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55" name="Rounded Rectangle 12">
            <a:extLst>
              <a:ext uri="{FF2B5EF4-FFF2-40B4-BE49-F238E27FC236}">
                <a16:creationId xmlns:a16="http://schemas.microsoft.com/office/drawing/2014/main" id="{256F7E7C-534C-439E-B57B-10C4005CEFD3}"/>
              </a:ext>
            </a:extLst>
          </p:cNvPr>
          <p:cNvSpPr/>
          <p:nvPr/>
        </p:nvSpPr>
        <p:spPr>
          <a:xfrm>
            <a:off x="2897844" y="172413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eb</a:t>
            </a:r>
          </a:p>
        </p:txBody>
      </p:sp>
      <p:cxnSp>
        <p:nvCxnSpPr>
          <p:cNvPr id="56" name="Elbow Connector 114">
            <a:extLst>
              <a:ext uri="{FF2B5EF4-FFF2-40B4-BE49-F238E27FC236}">
                <a16:creationId xmlns:a16="http://schemas.microsoft.com/office/drawing/2014/main" id="{3AF06C71-EC1C-4325-8214-9ABE9DD65F6F}"/>
              </a:ext>
            </a:extLst>
          </p:cNvPr>
          <p:cNvCxnSpPr>
            <a:cxnSpLocks/>
            <a:stCxn id="31" idx="0"/>
          </p:cNvCxnSpPr>
          <p:nvPr/>
        </p:nvCxnSpPr>
        <p:spPr>
          <a:xfrm rot="5400000" flipH="1" flipV="1">
            <a:off x="6865015" y="4537535"/>
            <a:ext cx="169268" cy="511002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sp>
        <p:nvSpPr>
          <p:cNvPr id="57" name="Rectangle 49">
            <a:extLst>
              <a:ext uri="{FF2B5EF4-FFF2-40B4-BE49-F238E27FC236}">
                <a16:creationId xmlns:a16="http://schemas.microsoft.com/office/drawing/2014/main" id="{448B13ED-5960-4521-93EB-51916C820F07}"/>
              </a:ext>
            </a:extLst>
          </p:cNvPr>
          <p:cNvSpPr/>
          <p:nvPr/>
        </p:nvSpPr>
        <p:spPr>
          <a:xfrm>
            <a:off x="7214768" y="3697808"/>
            <a:ext cx="914400" cy="1075710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hat &amp; Presence Services</a:t>
            </a:r>
          </a:p>
        </p:txBody>
      </p:sp>
      <p:sp>
        <p:nvSpPr>
          <p:cNvPr id="58" name="Rectangle 73">
            <a:extLst>
              <a:ext uri="{FF2B5EF4-FFF2-40B4-BE49-F238E27FC236}">
                <a16:creationId xmlns:a16="http://schemas.microsoft.com/office/drawing/2014/main" id="{D86EBC0D-63DF-4A1C-BBA7-73118D65265B}"/>
              </a:ext>
            </a:extLst>
          </p:cNvPr>
          <p:cNvSpPr/>
          <p:nvPr/>
        </p:nvSpPr>
        <p:spPr>
          <a:xfrm>
            <a:off x="6828535" y="5589226"/>
            <a:ext cx="1051560" cy="40339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/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</a:t>
            </a:r>
          </a:p>
        </p:txBody>
      </p:sp>
      <p:sp>
        <p:nvSpPr>
          <p:cNvPr id="59" name="Rectangle 75">
            <a:extLst>
              <a:ext uri="{FF2B5EF4-FFF2-40B4-BE49-F238E27FC236}">
                <a16:creationId xmlns:a16="http://schemas.microsoft.com/office/drawing/2014/main" id="{19E5093C-C99A-47F9-90E2-1BF3FD767B2D}"/>
              </a:ext>
            </a:extLst>
          </p:cNvPr>
          <p:cNvSpPr/>
          <p:nvPr/>
        </p:nvSpPr>
        <p:spPr>
          <a:xfrm>
            <a:off x="6828535" y="6073995"/>
            <a:ext cx="1051560" cy="40339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/>
            <a:r>
              <a:rPr lang="en-US" sz="1200" kern="0" dirty="0">
                <a:solidFill>
                  <a:prstClr val="white"/>
                </a:solidFill>
                <a:latin typeface="Segoe UI"/>
              </a:rPr>
              <a:t>Information Protection</a:t>
            </a:r>
          </a:p>
        </p:txBody>
      </p:sp>
      <p:cxnSp>
        <p:nvCxnSpPr>
          <p:cNvPr id="60" name="Elbow Connector 114">
            <a:extLst>
              <a:ext uri="{FF2B5EF4-FFF2-40B4-BE49-F238E27FC236}">
                <a16:creationId xmlns:a16="http://schemas.microsoft.com/office/drawing/2014/main" id="{ECA21277-7D13-46A0-A7BF-4B51B7C1D0C2}"/>
              </a:ext>
            </a:extLst>
          </p:cNvPr>
          <p:cNvCxnSpPr>
            <a:cxnSpLocks/>
            <a:stCxn id="40" idx="0"/>
            <a:endCxn id="39" idx="2"/>
          </p:cNvCxnSpPr>
          <p:nvPr/>
        </p:nvCxnSpPr>
        <p:spPr>
          <a:xfrm rot="5400000" flipH="1" flipV="1">
            <a:off x="6812638" y="4735778"/>
            <a:ext cx="322252" cy="13964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cxnSp>
        <p:nvCxnSpPr>
          <p:cNvPr id="61" name="Elbow Connector 114">
            <a:extLst>
              <a:ext uri="{FF2B5EF4-FFF2-40B4-BE49-F238E27FC236}">
                <a16:creationId xmlns:a16="http://schemas.microsoft.com/office/drawing/2014/main" id="{B5EE6E0E-FDD1-4B11-B569-371173315CE4}"/>
              </a:ext>
            </a:extLst>
          </p:cNvPr>
          <p:cNvCxnSpPr>
            <a:cxnSpLocks/>
            <a:stCxn id="58" idx="0"/>
            <a:endCxn id="39" idx="2"/>
          </p:cNvCxnSpPr>
          <p:nvPr/>
        </p:nvCxnSpPr>
        <p:spPr>
          <a:xfrm rot="5400000" flipH="1" flipV="1">
            <a:off x="7354956" y="5272215"/>
            <a:ext cx="316371" cy="31765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cxnSp>
        <p:nvCxnSpPr>
          <p:cNvPr id="62" name="Elbow Connector 114">
            <a:extLst>
              <a:ext uri="{FF2B5EF4-FFF2-40B4-BE49-F238E27FC236}">
                <a16:creationId xmlns:a16="http://schemas.microsoft.com/office/drawing/2014/main" id="{9C7A48A0-AE20-4296-9063-0E24DDDA73E5}"/>
              </a:ext>
            </a:extLst>
          </p:cNvPr>
          <p:cNvCxnSpPr>
            <a:cxnSpLocks/>
            <a:stCxn id="33" idx="0"/>
            <a:endCxn id="39" idx="2"/>
          </p:cNvCxnSpPr>
          <p:nvPr/>
        </p:nvCxnSpPr>
        <p:spPr>
          <a:xfrm rot="16200000" flipV="1">
            <a:off x="7897010" y="5047813"/>
            <a:ext cx="311018" cy="76110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cxnSp>
        <p:nvCxnSpPr>
          <p:cNvPr id="63" name="Elbow Connector 114">
            <a:extLst>
              <a:ext uri="{FF2B5EF4-FFF2-40B4-BE49-F238E27FC236}">
                <a16:creationId xmlns:a16="http://schemas.microsoft.com/office/drawing/2014/main" id="{EEB4A0CD-84F0-4F77-B46B-3B7A4BF5AEB1}"/>
              </a:ext>
            </a:extLst>
          </p:cNvPr>
          <p:cNvCxnSpPr>
            <a:cxnSpLocks/>
            <a:stCxn id="35" idx="0"/>
            <a:endCxn id="39" idx="2"/>
          </p:cNvCxnSpPr>
          <p:nvPr/>
        </p:nvCxnSpPr>
        <p:spPr>
          <a:xfrm rot="16200000" flipV="1">
            <a:off x="8434263" y="4510560"/>
            <a:ext cx="322252" cy="18468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sp>
        <p:nvSpPr>
          <p:cNvPr id="64" name="Rectangle 92">
            <a:extLst>
              <a:ext uri="{FF2B5EF4-FFF2-40B4-BE49-F238E27FC236}">
                <a16:creationId xmlns:a16="http://schemas.microsoft.com/office/drawing/2014/main" id="{A149E995-093A-4D87-A1CF-8891C551DA1F}"/>
              </a:ext>
            </a:extLst>
          </p:cNvPr>
          <p:cNvSpPr/>
          <p:nvPr/>
        </p:nvSpPr>
        <p:spPr>
          <a:xfrm>
            <a:off x="4663600" y="5595107"/>
            <a:ext cx="1051560" cy="40339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/>
            <a:r>
              <a:rPr lang="en-US" sz="1200" kern="0" dirty="0">
                <a:solidFill>
                  <a:prstClr val="white"/>
                </a:solidFill>
                <a:latin typeface="Segoe UI"/>
              </a:rPr>
              <a:t>Graph Webhook</a:t>
            </a:r>
          </a:p>
        </p:txBody>
      </p:sp>
      <p:cxnSp>
        <p:nvCxnSpPr>
          <p:cNvPr id="65" name="Elbow Connector 114">
            <a:extLst>
              <a:ext uri="{FF2B5EF4-FFF2-40B4-BE49-F238E27FC236}">
                <a16:creationId xmlns:a16="http://schemas.microsoft.com/office/drawing/2014/main" id="{1532A32D-73C7-4D0B-AFBC-4642F99422C4}"/>
              </a:ext>
            </a:extLst>
          </p:cNvPr>
          <p:cNvCxnSpPr>
            <a:cxnSpLocks/>
            <a:stCxn id="64" idx="0"/>
            <a:endCxn id="39" idx="2"/>
          </p:cNvCxnSpPr>
          <p:nvPr/>
        </p:nvCxnSpPr>
        <p:spPr>
          <a:xfrm rot="5400000" flipH="1" flipV="1">
            <a:off x="6269548" y="4192687"/>
            <a:ext cx="322252" cy="248258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ysDash"/>
            <a:headEnd type="none"/>
            <a:tailEnd type="none"/>
          </a:ln>
          <a:effectLst/>
        </p:spPr>
      </p:cxnSp>
      <p:sp>
        <p:nvSpPr>
          <p:cNvPr id="66" name="Rectangle 98">
            <a:extLst>
              <a:ext uri="{FF2B5EF4-FFF2-40B4-BE49-F238E27FC236}">
                <a16:creationId xmlns:a16="http://schemas.microsoft.com/office/drawing/2014/main" id="{461E16BE-6505-466F-9167-7E6DD9E827B7}"/>
              </a:ext>
            </a:extLst>
          </p:cNvPr>
          <p:cNvSpPr/>
          <p:nvPr/>
        </p:nvSpPr>
        <p:spPr>
          <a:xfrm>
            <a:off x="8241227" y="4877671"/>
            <a:ext cx="914400" cy="397572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prstClr val="white"/>
                </a:solidFill>
                <a:latin typeface="Segoe UI"/>
              </a:rPr>
              <a:t>Stream Recording</a:t>
            </a:r>
          </a:p>
        </p:txBody>
      </p:sp>
      <p:sp>
        <p:nvSpPr>
          <p:cNvPr id="67" name="Rectangle 115">
            <a:extLst>
              <a:ext uri="{FF2B5EF4-FFF2-40B4-BE49-F238E27FC236}">
                <a16:creationId xmlns:a16="http://schemas.microsoft.com/office/drawing/2014/main" id="{E321BFE9-7191-450D-93F9-FFE5BEFACE90}"/>
              </a:ext>
            </a:extLst>
          </p:cNvPr>
          <p:cNvSpPr/>
          <p:nvPr/>
        </p:nvSpPr>
        <p:spPr>
          <a:xfrm>
            <a:off x="7339986" y="4509064"/>
            <a:ext cx="681464" cy="1627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Bots</a:t>
            </a:r>
          </a:p>
        </p:txBody>
      </p:sp>
      <p:sp>
        <p:nvSpPr>
          <p:cNvPr id="68" name="Rounded Rectangle 15">
            <a:extLst>
              <a:ext uri="{FF2B5EF4-FFF2-40B4-BE49-F238E27FC236}">
                <a16:creationId xmlns:a16="http://schemas.microsoft.com/office/drawing/2014/main" id="{811CFF84-E425-4927-BD67-7A43606B1B57}"/>
              </a:ext>
            </a:extLst>
          </p:cNvPr>
          <p:cNvSpPr/>
          <p:nvPr/>
        </p:nvSpPr>
        <p:spPr>
          <a:xfrm>
            <a:off x="8613171" y="1724130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ph API</a:t>
            </a:r>
          </a:p>
        </p:txBody>
      </p:sp>
      <p:cxnSp>
        <p:nvCxnSpPr>
          <p:cNvPr id="69" name="Straight Connector 125">
            <a:extLst>
              <a:ext uri="{FF2B5EF4-FFF2-40B4-BE49-F238E27FC236}">
                <a16:creationId xmlns:a16="http://schemas.microsoft.com/office/drawing/2014/main" id="{2B3FB383-E61B-4E15-85F9-F9C4B9C219A7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7354315" y="5992617"/>
            <a:ext cx="0" cy="8137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70" name="Rectangle 81">
            <a:extLst>
              <a:ext uri="{FF2B5EF4-FFF2-40B4-BE49-F238E27FC236}">
                <a16:creationId xmlns:a16="http://schemas.microsoft.com/office/drawing/2014/main" id="{5324EE0D-4DFA-4121-9ED1-7317FEB48BB1}"/>
              </a:ext>
            </a:extLst>
          </p:cNvPr>
          <p:cNvSpPr/>
          <p:nvPr/>
        </p:nvSpPr>
        <p:spPr>
          <a:xfrm>
            <a:off x="8993030" y="6084290"/>
            <a:ext cx="1051560" cy="403391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mail Service</a:t>
            </a:r>
          </a:p>
        </p:txBody>
      </p:sp>
      <p:cxnSp>
        <p:nvCxnSpPr>
          <p:cNvPr id="71" name="Straight Connector 82">
            <a:extLst>
              <a:ext uri="{FF2B5EF4-FFF2-40B4-BE49-F238E27FC236}">
                <a16:creationId xmlns:a16="http://schemas.microsoft.com/office/drawing/2014/main" id="{123C8CEC-A290-416E-9030-AF13C9F8050F}"/>
              </a:ext>
            </a:extLst>
          </p:cNvPr>
          <p:cNvCxnSpPr>
            <a:cxnSpLocks/>
            <a:endCxn id="70" idx="0"/>
          </p:cNvCxnSpPr>
          <p:nvPr/>
        </p:nvCxnSpPr>
        <p:spPr>
          <a:xfrm flipH="1">
            <a:off x="9518810" y="6036201"/>
            <a:ext cx="2" cy="4808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72" name="Rectangle 84">
            <a:extLst>
              <a:ext uri="{FF2B5EF4-FFF2-40B4-BE49-F238E27FC236}">
                <a16:creationId xmlns:a16="http://schemas.microsoft.com/office/drawing/2014/main" id="{985483C5-8E14-4F06-BA0E-7AC350D973AC}"/>
              </a:ext>
            </a:extLst>
          </p:cNvPr>
          <p:cNvSpPr/>
          <p:nvPr/>
        </p:nvSpPr>
        <p:spPr>
          <a:xfrm>
            <a:off x="9527532" y="4118561"/>
            <a:ext cx="839005" cy="327858"/>
          </a:xfrm>
          <a:prstGeom prst="rect">
            <a:avLst/>
          </a:prstGeom>
          <a:solidFill>
            <a:srgbClr val="737373"/>
          </a:solidFill>
          <a:ln w="10795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t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licy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EEFD9EA-7525-408A-AC71-8C10E1E38064}"/>
              </a:ext>
            </a:extLst>
          </p:cNvPr>
          <p:cNvSpPr/>
          <p:nvPr/>
        </p:nvSpPr>
        <p:spPr>
          <a:xfrm>
            <a:off x="3276054" y="4396022"/>
            <a:ext cx="2426141" cy="380736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Box 18">
            <a:extLst>
              <a:ext uri="{FF2B5EF4-FFF2-40B4-BE49-F238E27FC236}">
                <a16:creationId xmlns:a16="http://schemas.microsoft.com/office/drawing/2014/main" id="{E4443D38-60D5-4578-AFD3-ED182E0691E7}"/>
              </a:ext>
            </a:extLst>
          </p:cNvPr>
          <p:cNvSpPr txBox="1"/>
          <p:nvPr/>
        </p:nvSpPr>
        <p:spPr>
          <a:xfrm rot="16200000">
            <a:off x="2677949" y="3279102"/>
            <a:ext cx="479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6386">
              <a:defRPr/>
            </a:pPr>
            <a:r>
              <a:rPr lang="en-US" sz="1200" kern="0" dirty="0">
                <a:solidFill>
                  <a:prstClr val="black"/>
                </a:solidFill>
                <a:latin typeface="Segoe UI"/>
              </a:rPr>
              <a:t>Files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BB07032-E540-415D-AD99-E22D4FBF516B}"/>
              </a:ext>
            </a:extLst>
          </p:cNvPr>
          <p:cNvSpPr/>
          <p:nvPr/>
        </p:nvSpPr>
        <p:spPr>
          <a:xfrm>
            <a:off x="5709476" y="3682910"/>
            <a:ext cx="925487" cy="1090608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61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39A8BB-717D-4714-B88F-828CFE419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Exchange Server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2464A7F2-C88B-4819-9D2A-F6D5D440F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6A560-E5F5-43FE-8DAF-5EC01E85B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04D7B3A7-1353-405A-AC59-B6321D98400B}"/>
              </a:ext>
            </a:extLst>
          </p:cNvPr>
          <p:cNvSpPr/>
          <p:nvPr/>
        </p:nvSpPr>
        <p:spPr>
          <a:xfrm>
            <a:off x="8262304" y="3020751"/>
            <a:ext cx="1998585" cy="260392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line</a:t>
            </a:r>
          </a:p>
        </p:txBody>
      </p:sp>
      <p:sp>
        <p:nvSpPr>
          <p:cNvPr id="7" name="Rectangle 60">
            <a:extLst>
              <a:ext uri="{FF2B5EF4-FFF2-40B4-BE49-F238E27FC236}">
                <a16:creationId xmlns:a16="http://schemas.microsoft.com/office/drawing/2014/main" id="{DE054D88-3603-40E4-9549-6723191A98BF}"/>
              </a:ext>
            </a:extLst>
          </p:cNvPr>
          <p:cNvSpPr/>
          <p:nvPr/>
        </p:nvSpPr>
        <p:spPr>
          <a:xfrm>
            <a:off x="6209578" y="2613092"/>
            <a:ext cx="914400" cy="1075710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 Backend Services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0B649E72-6B34-4D35-8D0A-AF328C785A2E}"/>
              </a:ext>
            </a:extLst>
          </p:cNvPr>
          <p:cNvSpPr/>
          <p:nvPr/>
        </p:nvSpPr>
        <p:spPr>
          <a:xfrm>
            <a:off x="2579347" y="1823313"/>
            <a:ext cx="1596112" cy="4435202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737373"/>
            </a:solidFill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t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Segoe UI"/>
                <a:cs typeface="Segoe UI Light" panose="020B0502040204020203" pitchFamily="34" charset="0"/>
              </a:rPr>
              <a:t>Teams Clients</a:t>
            </a:r>
          </a:p>
        </p:txBody>
      </p:sp>
      <p:sp>
        <p:nvSpPr>
          <p:cNvPr id="9" name="Rounded Rectangle 13">
            <a:extLst>
              <a:ext uri="{FF2B5EF4-FFF2-40B4-BE49-F238E27FC236}">
                <a16:creationId xmlns:a16="http://schemas.microsoft.com/office/drawing/2014/main" id="{77103311-4599-4D79-AAB7-E55DE960EC46}"/>
              </a:ext>
            </a:extLst>
          </p:cNvPr>
          <p:cNvSpPr/>
          <p:nvPr/>
        </p:nvSpPr>
        <p:spPr>
          <a:xfrm>
            <a:off x="2757655" y="2984554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ktop</a:t>
            </a:r>
          </a:p>
        </p:txBody>
      </p: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D3CCF3F1-E914-4F58-94B7-156AF31807F2}"/>
              </a:ext>
            </a:extLst>
          </p:cNvPr>
          <p:cNvSpPr/>
          <p:nvPr/>
        </p:nvSpPr>
        <p:spPr>
          <a:xfrm>
            <a:off x="2765699" y="3782853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11" name="Rounded Rectangle 15">
            <a:extLst>
              <a:ext uri="{FF2B5EF4-FFF2-40B4-BE49-F238E27FC236}">
                <a16:creationId xmlns:a16="http://schemas.microsoft.com/office/drawing/2014/main" id="{32B9C731-09EA-4078-978E-C40F9D93BA3E}"/>
              </a:ext>
            </a:extLst>
          </p:cNvPr>
          <p:cNvSpPr/>
          <p:nvPr/>
        </p:nvSpPr>
        <p:spPr>
          <a:xfrm>
            <a:off x="2765699" y="4581152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roi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12" name="Rounded Rectangle 12">
            <a:extLst>
              <a:ext uri="{FF2B5EF4-FFF2-40B4-BE49-F238E27FC236}">
                <a16:creationId xmlns:a16="http://schemas.microsoft.com/office/drawing/2014/main" id="{959B28BD-DFA4-422F-80CF-01F5215943ED}"/>
              </a:ext>
            </a:extLst>
          </p:cNvPr>
          <p:cNvSpPr/>
          <p:nvPr/>
        </p:nvSpPr>
        <p:spPr>
          <a:xfrm>
            <a:off x="2765699" y="2182175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eb</a:t>
            </a:r>
          </a:p>
        </p:txBody>
      </p:sp>
      <p:sp>
        <p:nvSpPr>
          <p:cNvPr id="13" name="Rounded Rectangle 15">
            <a:extLst>
              <a:ext uri="{FF2B5EF4-FFF2-40B4-BE49-F238E27FC236}">
                <a16:creationId xmlns:a16="http://schemas.microsoft.com/office/drawing/2014/main" id="{EF318C82-6C32-46CC-8AE6-9B8C3D903FF4}"/>
              </a:ext>
            </a:extLst>
          </p:cNvPr>
          <p:cNvSpPr/>
          <p:nvPr/>
        </p:nvSpPr>
        <p:spPr>
          <a:xfrm>
            <a:off x="2765699" y="5379451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ph API</a:t>
            </a:r>
          </a:p>
        </p:txBody>
      </p:sp>
      <p:cxnSp>
        <p:nvCxnSpPr>
          <p:cNvPr id="14" name="Straight Connector 104">
            <a:extLst>
              <a:ext uri="{FF2B5EF4-FFF2-40B4-BE49-F238E27FC236}">
                <a16:creationId xmlns:a16="http://schemas.microsoft.com/office/drawing/2014/main" id="{83E02432-8F6D-4985-BEDF-054BB16A2210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4175459" y="3150947"/>
            <a:ext cx="2034119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5" name="Straight Connector 104">
            <a:extLst>
              <a:ext uri="{FF2B5EF4-FFF2-40B4-BE49-F238E27FC236}">
                <a16:creationId xmlns:a16="http://schemas.microsoft.com/office/drawing/2014/main" id="{65F641A2-39A4-44A4-A65D-B7124843DF40}"/>
              </a:ext>
            </a:extLst>
          </p:cNvPr>
          <p:cNvCxnSpPr>
            <a:cxnSpLocks/>
            <a:stCxn id="6" idx="1"/>
            <a:endCxn id="7" idx="3"/>
          </p:cNvCxnSpPr>
          <p:nvPr/>
        </p:nvCxnSpPr>
        <p:spPr>
          <a:xfrm flipH="1">
            <a:off x="7123978" y="3150947"/>
            <a:ext cx="1138326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16" name="Rectangle 7">
            <a:extLst>
              <a:ext uri="{FF2B5EF4-FFF2-40B4-BE49-F238E27FC236}">
                <a16:creationId xmlns:a16="http://schemas.microsoft.com/office/drawing/2014/main" id="{51EABEE4-4848-4408-9185-2D42C59DE55D}"/>
              </a:ext>
            </a:extLst>
          </p:cNvPr>
          <p:cNvSpPr/>
          <p:nvPr/>
        </p:nvSpPr>
        <p:spPr>
          <a:xfrm>
            <a:off x="5679077" y="4862943"/>
            <a:ext cx="1998585" cy="260392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-Premises</a:t>
            </a:r>
          </a:p>
        </p:txBody>
      </p:sp>
      <p:cxnSp>
        <p:nvCxnSpPr>
          <p:cNvPr id="17" name="Straight Connector 104">
            <a:extLst>
              <a:ext uri="{FF2B5EF4-FFF2-40B4-BE49-F238E27FC236}">
                <a16:creationId xmlns:a16="http://schemas.microsoft.com/office/drawing/2014/main" id="{162ABCE5-42A3-45DB-8A1C-031059C85DE5}"/>
              </a:ext>
            </a:extLst>
          </p:cNvPr>
          <p:cNvCxnSpPr>
            <a:cxnSpLocks/>
            <a:stCxn id="16" idx="0"/>
            <a:endCxn id="7" idx="2"/>
          </p:cNvCxnSpPr>
          <p:nvPr/>
        </p:nvCxnSpPr>
        <p:spPr>
          <a:xfrm flipH="1" flipV="1">
            <a:off x="6666778" y="3688802"/>
            <a:ext cx="11592" cy="1174141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8" name="Straight Connector 104">
            <a:extLst>
              <a:ext uri="{FF2B5EF4-FFF2-40B4-BE49-F238E27FC236}">
                <a16:creationId xmlns:a16="http://schemas.microsoft.com/office/drawing/2014/main" id="{7934EAB4-BB64-4BC8-9DC1-1B93F0578A7D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6678370" y="5123335"/>
            <a:ext cx="0" cy="46487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41008961-D61D-4F2A-9680-9C237A4F9C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7137" y="5179557"/>
            <a:ext cx="390525" cy="35242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166C4AE-CAFB-4157-815C-99838931C4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6419" y="5562318"/>
            <a:ext cx="723900" cy="6000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0156B6D-3B34-410B-8580-3073E46EE3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1444" y="5948080"/>
            <a:ext cx="400050" cy="428625"/>
          </a:xfrm>
          <a:prstGeom prst="rect">
            <a:avLst/>
          </a:prstGeom>
        </p:spPr>
      </p:pic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1B81AEF-2600-41D6-B46A-815B01A5F754}"/>
              </a:ext>
            </a:extLst>
          </p:cNvPr>
          <p:cNvCxnSpPr/>
          <p:nvPr/>
        </p:nvCxnSpPr>
        <p:spPr>
          <a:xfrm>
            <a:off x="7152736" y="3020751"/>
            <a:ext cx="10808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FAA8589-E441-4417-B54F-2009B2A4800A}"/>
              </a:ext>
            </a:extLst>
          </p:cNvPr>
          <p:cNvCxnSpPr>
            <a:cxnSpLocks/>
          </p:cNvCxnSpPr>
          <p:nvPr/>
        </p:nvCxnSpPr>
        <p:spPr>
          <a:xfrm>
            <a:off x="6486076" y="3688802"/>
            <a:ext cx="0" cy="11741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6AB30A90-0963-4005-8054-996BC5DDB577}"/>
              </a:ext>
            </a:extLst>
          </p:cNvPr>
          <p:cNvCxnSpPr>
            <a:cxnSpLocks/>
          </p:cNvCxnSpPr>
          <p:nvPr/>
        </p:nvCxnSpPr>
        <p:spPr>
          <a:xfrm>
            <a:off x="6855842" y="3688802"/>
            <a:ext cx="0" cy="1174141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8853EFFA-C7D1-4ED7-8B07-880B6919DB12}"/>
              </a:ext>
            </a:extLst>
          </p:cNvPr>
          <p:cNvSpPr txBox="1"/>
          <p:nvPr/>
        </p:nvSpPr>
        <p:spPr>
          <a:xfrm>
            <a:off x="7040319" y="2776309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5EFAC45-6FF9-4496-8A0F-16CBDDA2E03C}"/>
              </a:ext>
            </a:extLst>
          </p:cNvPr>
          <p:cNvSpPr txBox="1"/>
          <p:nvPr/>
        </p:nvSpPr>
        <p:spPr>
          <a:xfrm rot="16200000">
            <a:off x="5791238" y="4063126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0305ECE-DC11-4966-A383-B2CEFE0CBC18}"/>
              </a:ext>
            </a:extLst>
          </p:cNvPr>
          <p:cNvSpPr txBox="1"/>
          <p:nvPr/>
        </p:nvSpPr>
        <p:spPr>
          <a:xfrm rot="16200000">
            <a:off x="6361548" y="4103665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EWS / RES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087C8C0A-56E5-4F67-9870-C510F5E48974}"/>
              </a:ext>
            </a:extLst>
          </p:cNvPr>
          <p:cNvSpPr txBox="1"/>
          <p:nvPr/>
        </p:nvSpPr>
        <p:spPr>
          <a:xfrm>
            <a:off x="7074500" y="3085136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302 HTTP</a:t>
            </a:r>
          </a:p>
        </p:txBody>
      </p:sp>
      <p:pic>
        <p:nvPicPr>
          <p:cNvPr id="29" name="Grafik 28" descr="Marke 1 mit einfarbiger Füllung">
            <a:extLst>
              <a:ext uri="{FF2B5EF4-FFF2-40B4-BE49-F238E27FC236}">
                <a16:creationId xmlns:a16="http://schemas.microsoft.com/office/drawing/2014/main" id="{D5D54EDE-6414-408E-9D06-B2AAD64989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69904" y="2701488"/>
            <a:ext cx="392815" cy="392815"/>
          </a:xfrm>
          <a:prstGeom prst="rect">
            <a:avLst/>
          </a:prstGeom>
        </p:spPr>
      </p:pic>
      <p:pic>
        <p:nvPicPr>
          <p:cNvPr id="30" name="Grafik 29" descr="Abzeichen mit einfarbiger Füllung">
            <a:extLst>
              <a:ext uri="{FF2B5EF4-FFF2-40B4-BE49-F238E27FC236}">
                <a16:creationId xmlns:a16="http://schemas.microsoft.com/office/drawing/2014/main" id="{104C7EB5-9170-450F-8B41-83C827F8A8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88174" y="4534302"/>
            <a:ext cx="397362" cy="397362"/>
          </a:xfrm>
          <a:prstGeom prst="rect">
            <a:avLst/>
          </a:prstGeom>
        </p:spPr>
      </p:pic>
      <p:pic>
        <p:nvPicPr>
          <p:cNvPr id="31" name="Grafik 30" descr="Marke 3 mit einfarbiger Füllung">
            <a:extLst>
              <a:ext uri="{FF2B5EF4-FFF2-40B4-BE49-F238E27FC236}">
                <a16:creationId xmlns:a16="http://schemas.microsoft.com/office/drawing/2014/main" id="{6BC85594-45BD-413D-B346-ACB58E75C7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54054" y="4538354"/>
            <a:ext cx="397363" cy="39736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97B023F-7505-4100-9303-5D25E0C7BF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975" y="3782853"/>
            <a:ext cx="723900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73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/>
      <p:bldP spid="2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EE4P_LANGUAGE_ID" val="1033"/>
</p:tagLst>
</file>

<file path=ppt/theme/theme1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5E242075-BBBC-4FED-9826-9AAA49D419FB}"/>
    </a:ext>
  </a:extLst>
</a:theme>
</file>

<file path=ppt/theme/theme2.xml><?xml version="1.0" encoding="utf-8"?>
<a:theme xmlns:a="http://schemas.openxmlformats.org/drawingml/2006/main" name="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6D744E6B-0699-4B72-95BD-60E852A9BB0A}"/>
    </a:ext>
  </a:extLst>
</a:theme>
</file>

<file path=ppt/theme/theme3.xml><?xml version="1.0" encoding="utf-8"?>
<a:theme xmlns:a="http://schemas.openxmlformats.org/drawingml/2006/main" name="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2D2578DA-17BC-41B4-A37C-4FDE5CE75E27}"/>
    </a:ext>
  </a:extLst>
</a:theme>
</file>

<file path=ppt/theme/theme4.xml><?xml version="1.0" encoding="utf-8"?>
<a:theme xmlns:a="http://schemas.openxmlformats.org/drawingml/2006/main" name="3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BBD0D484-DEA9-43B6-A40B-B0E5E8CB324F}"/>
    </a:ext>
  </a:extLst>
</a:theme>
</file>

<file path=ppt/theme/theme5.xml><?xml version="1.0" encoding="utf-8"?>
<a:theme xmlns:a="http://schemas.openxmlformats.org/drawingml/2006/main" name="4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45A79652-C1E0-49A3-B727-BCB9908DB4B7}"/>
    </a:ext>
  </a:extLst>
</a:theme>
</file>

<file path=ppt/theme/theme6.xml><?xml version="1.0" encoding="utf-8"?>
<a:theme xmlns:a="http://schemas.openxmlformats.org/drawingml/2006/main" name="5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12C4CEFD-EA3A-4DC2-B066-AD506B9D4060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twork-Concept_16x9_DE_GRK</Template>
  <TotalTime>0</TotalTime>
  <Words>2238</Words>
  <Application>Microsoft Office PowerPoint</Application>
  <PresentationFormat>Benutzerdefiniert</PresentationFormat>
  <Paragraphs>353</Paragraphs>
  <Slides>38</Slides>
  <Notes>19</Notes>
  <HiddenSlides>2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38</vt:i4>
      </vt:variant>
    </vt:vector>
  </HeadingPairs>
  <TitlesOfParts>
    <vt:vector size="53" baseType="lpstr">
      <vt:lpstr>Wingdings</vt:lpstr>
      <vt:lpstr>Microsoft YaHei</vt:lpstr>
      <vt:lpstr>Symbol</vt:lpstr>
      <vt:lpstr>Bebas Neue</vt:lpstr>
      <vt:lpstr>Arial</vt:lpstr>
      <vt:lpstr>Courier New</vt:lpstr>
      <vt:lpstr>Calibri</vt:lpstr>
      <vt:lpstr>Calibri Light</vt:lpstr>
      <vt:lpstr>Segoe UI</vt:lpstr>
      <vt:lpstr>PRESENTATIONLOAD</vt:lpstr>
      <vt:lpstr>2_PRESENTATIONLOAD</vt:lpstr>
      <vt:lpstr>1_PRESENTATIONLOAD</vt:lpstr>
      <vt:lpstr>3_PRESENTATIONLOAD</vt:lpstr>
      <vt:lpstr>4_PRESENTATIONLOAD</vt:lpstr>
      <vt:lpstr>5_PRESENTATIONLOAD</vt:lpstr>
      <vt:lpstr>PowerPoint-Präsentation</vt:lpstr>
      <vt:lpstr>Microsoft Teams and  On-Premises Mailboxes</vt:lpstr>
      <vt:lpstr>PowerPoint-Präsentation</vt:lpstr>
      <vt:lpstr>PowerPoint-Präsentation</vt:lpstr>
      <vt:lpstr>Microsoft Teams and Exchange Server</vt:lpstr>
      <vt:lpstr>Microsoft Teams and Exchange Server</vt:lpstr>
      <vt:lpstr>Microsoft Teams Calendar Access Architecture</vt:lpstr>
      <vt:lpstr>Microsoft Teams - Architecture</vt:lpstr>
      <vt:lpstr>Microsoft Teams and Exchange Server</vt:lpstr>
      <vt:lpstr>Microsoft Teams and Exchange Server</vt:lpstr>
      <vt:lpstr>Exchange Server</vt:lpstr>
      <vt:lpstr>Exchange Server</vt:lpstr>
      <vt:lpstr>MsolServicePrincipals</vt:lpstr>
      <vt:lpstr>Exchange Server</vt:lpstr>
      <vt:lpstr>Exchange Server</vt:lpstr>
      <vt:lpstr>Exchange Server</vt:lpstr>
      <vt:lpstr>Exchange Server and Exchange Server</vt:lpstr>
      <vt:lpstr>Deep Dive</vt:lpstr>
      <vt:lpstr>Microsoft Teams Backend</vt:lpstr>
      <vt:lpstr>Microsoft Teams Backend</vt:lpstr>
      <vt:lpstr>Exchange Server Logging</vt:lpstr>
      <vt:lpstr>Exchange Server </vt:lpstr>
      <vt:lpstr>Exchange Server </vt:lpstr>
      <vt:lpstr>Exchange Server</vt:lpstr>
      <vt:lpstr>Microsoft Teams Backend</vt:lpstr>
      <vt:lpstr>Exchange Server</vt:lpstr>
      <vt:lpstr>Microsoft Teams and Calendar Delegation</vt:lpstr>
      <vt:lpstr>Microsoft Teams and Calendar Delegation</vt:lpstr>
      <vt:lpstr>Microsoft Teams and Calendar-Based Presence</vt:lpstr>
      <vt:lpstr>Microsoft Teams and Calendar-Based Presence</vt:lpstr>
      <vt:lpstr>Microsoft Teams and Calendar-Based Presence</vt:lpstr>
      <vt:lpstr>Microsoft Teams and Calendar-Based Presence</vt:lpstr>
      <vt:lpstr>Microsoft Teams Client Protocols</vt:lpstr>
      <vt:lpstr>Microsoft Teams and Exchange Server</vt:lpstr>
      <vt:lpstr>Questions?</vt:lpstr>
      <vt:lpstr>PowerPoint-Präsentation</vt:lpstr>
      <vt:lpstr>Thank You!</vt:lpstr>
      <vt:lpstr>Ressources</vt:lpstr>
    </vt:vector>
  </TitlesOfParts>
  <Company>Granikos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 and On-Premises Mailboxes</dc:title>
  <dc:subject>M365 Collaboration Bootcamp 2021</dc:subject>
  <dc:creator>Thomas Stensitzki</dc:creator>
  <cp:keywords>Collaboration Bootcamp;Microsoft 365</cp:keywords>
  <dc:description/>
  <cp:lastModifiedBy>Thomas Stensitzki</cp:lastModifiedBy>
  <cp:revision>1</cp:revision>
  <dcterms:created xsi:type="dcterms:W3CDTF">2021-08-15T09:59:54Z</dcterms:created>
  <dcterms:modified xsi:type="dcterms:W3CDTF">2021-08-21T13:42:09Z</dcterms:modified>
  <cp:category/>
</cp:coreProperties>
</file>